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3.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 id="2147483991" r:id="rId16"/>
    <p:sldMasterId id="2147484013" r:id="rId17"/>
  </p:sldMasterIdLst>
  <p:notesMasterIdLst>
    <p:notesMasterId r:id="rId33"/>
  </p:notesMasterIdLst>
  <p:handoutMasterIdLst>
    <p:handoutMasterId r:id="rId34"/>
  </p:handoutMasterIdLst>
  <p:sldIdLst>
    <p:sldId id="270" r:id="rId18"/>
    <p:sldId id="558" r:id="rId19"/>
    <p:sldId id="543" r:id="rId20"/>
    <p:sldId id="544" r:id="rId21"/>
    <p:sldId id="545" r:id="rId22"/>
    <p:sldId id="551" r:id="rId23"/>
    <p:sldId id="552" r:id="rId24"/>
    <p:sldId id="546" r:id="rId25"/>
    <p:sldId id="553" r:id="rId26"/>
    <p:sldId id="548" r:id="rId27"/>
    <p:sldId id="549" r:id="rId28"/>
    <p:sldId id="557" r:id="rId29"/>
    <p:sldId id="554" r:id="rId30"/>
    <p:sldId id="550" r:id="rId31"/>
    <p:sldId id="55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6600"/>
    <a:srgbClr val="AFE5FD"/>
    <a:srgbClr val="CC3300"/>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480" autoAdjust="0"/>
    <p:restoredTop sz="93080" autoAdjust="0"/>
  </p:normalViewPr>
  <p:slideViewPr>
    <p:cSldViewPr snapToGrid="0">
      <p:cViewPr varScale="1">
        <p:scale>
          <a:sx n="61" d="100"/>
          <a:sy n="61" d="100"/>
        </p:scale>
        <p:origin x="108" y="27"/>
      </p:cViewPr>
      <p:guideLst/>
    </p:cSldViewPr>
  </p:slideViewPr>
  <p:notesTextViewPr>
    <p:cViewPr>
      <p:scale>
        <a:sx n="3" d="2"/>
        <a:sy n="3" d="2"/>
      </p:scale>
      <p:origin x="0" y="0"/>
    </p:cViewPr>
  </p:notesTextViewPr>
  <p:sorterViewPr>
    <p:cViewPr>
      <p:scale>
        <a:sx n="190" d="100"/>
        <a:sy n="190" d="100"/>
      </p:scale>
      <p:origin x="0" y="0"/>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4A9312-3FE2-4480-A0B5-AB5FF4EA7103}"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ltLang="zh-TW"/>
        </a:p>
      </dgm:t>
    </dgm:pt>
    <dgm:pt modelId="{DE4D5C3C-4890-4574-811F-C43D1275323F}">
      <dgm:prSet phldrT="[Text]" custT="1"/>
      <dgm:spPr>
        <a:solidFill>
          <a:srgbClr val="336600"/>
        </a:solidFill>
        <a:ln>
          <a:solidFill>
            <a:srgbClr val="336600"/>
          </a:solidFill>
        </a:ln>
      </dgm:spPr>
      <dgm:t>
        <a:bodyPr/>
        <a:lstStyle/>
        <a:p>
          <a:r>
            <a:rPr lang="en-US" altLang="zh-TW" sz="1800" dirty="0"/>
            <a:t>Blob</a:t>
          </a:r>
        </a:p>
      </dgm:t>
    </dgm:pt>
    <dgm:pt modelId="{F3088913-8B92-4F98-B8C9-077C20B703B1}" type="parTrans" cxnId="{565F0B40-2F5C-48FC-8019-81FF86512849}">
      <dgm:prSet/>
      <dgm:spPr/>
      <dgm:t>
        <a:bodyPr/>
        <a:lstStyle/>
        <a:p>
          <a:endParaRPr lang="en-US" altLang="zh-TW"/>
        </a:p>
      </dgm:t>
    </dgm:pt>
    <dgm:pt modelId="{B24B313A-0561-4AC7-8135-13A2F0C7FC29}" type="sibTrans" cxnId="{565F0B40-2F5C-48FC-8019-81FF86512849}">
      <dgm:prSet/>
      <dgm:spPr/>
      <dgm:t>
        <a:bodyPr/>
        <a:lstStyle/>
        <a:p>
          <a:endParaRPr lang="en-US" altLang="zh-TW"/>
        </a:p>
      </dgm:t>
    </dgm:pt>
    <dgm:pt modelId="{0D85150C-8F2A-4EFD-9761-98BF306976C1}">
      <dgm:prSet phldrT="[Text]" custT="1"/>
      <dgm:spPr>
        <a:solidFill>
          <a:schemeClr val="accent5">
            <a:lumMod val="50000"/>
            <a:lumOff val="50000"/>
          </a:schemeClr>
        </a:solidFill>
      </dgm:spPr>
      <dgm:t>
        <a:bodyPr/>
        <a:lstStyle/>
        <a:p>
          <a:r>
            <a:rPr lang="en-US" altLang="zh-TW" sz="1800" dirty="0"/>
            <a:t>Container</a:t>
          </a:r>
        </a:p>
      </dgm:t>
    </dgm:pt>
    <dgm:pt modelId="{70BA39D1-21DC-40B5-A74B-66243FF55C71}" type="parTrans" cxnId="{E9D46689-9D15-40C0-9417-20E08694512C}">
      <dgm:prSet/>
      <dgm:spPr/>
      <dgm:t>
        <a:bodyPr/>
        <a:lstStyle/>
        <a:p>
          <a:endParaRPr lang="en-US" altLang="zh-TW"/>
        </a:p>
      </dgm:t>
    </dgm:pt>
    <dgm:pt modelId="{3B529A23-47F7-459F-BD33-88A402E3DB65}" type="sibTrans" cxnId="{E9D46689-9D15-40C0-9417-20E08694512C}">
      <dgm:prSet/>
      <dgm:spPr/>
      <dgm:t>
        <a:bodyPr/>
        <a:lstStyle/>
        <a:p>
          <a:endParaRPr lang="en-US" altLang="zh-TW"/>
        </a:p>
      </dgm:t>
    </dgm:pt>
    <dgm:pt modelId="{74FD31A4-75AF-41E8-99DF-7EB8D46854AB}">
      <dgm:prSet phldrT="[Text]" custT="1"/>
      <dgm:spPr>
        <a:solidFill>
          <a:srgbClr val="92D050"/>
        </a:solidFill>
      </dgm:spPr>
      <dgm:t>
        <a:bodyPr/>
        <a:lstStyle/>
        <a:p>
          <a:r>
            <a:rPr lang="en-US" altLang="zh-TW" sz="1800" dirty="0"/>
            <a:t>Device ID 1</a:t>
          </a:r>
        </a:p>
      </dgm:t>
    </dgm:pt>
    <dgm:pt modelId="{CE79AE17-7139-4327-A57A-3F1CC0A4C740}" type="parTrans" cxnId="{917D15F4-183E-452A-925A-AA59CAA377C9}">
      <dgm:prSet/>
      <dgm:spPr/>
      <dgm:t>
        <a:bodyPr/>
        <a:lstStyle/>
        <a:p>
          <a:endParaRPr lang="en-US" altLang="zh-TW"/>
        </a:p>
      </dgm:t>
    </dgm:pt>
    <dgm:pt modelId="{86E85BE2-3E74-4566-9C34-FB289A43E374}" type="sibTrans" cxnId="{917D15F4-183E-452A-925A-AA59CAA377C9}">
      <dgm:prSet/>
      <dgm:spPr/>
      <dgm:t>
        <a:bodyPr/>
        <a:lstStyle/>
        <a:p>
          <a:endParaRPr lang="en-US" altLang="zh-TW"/>
        </a:p>
      </dgm:t>
    </dgm:pt>
    <dgm:pt modelId="{A0553F21-A3B7-4BF4-9377-76A98F4B93A1}">
      <dgm:prSet phldrT="[Text]" custT="1"/>
      <dgm:spPr>
        <a:solidFill>
          <a:srgbClr val="92D050"/>
        </a:solidFill>
      </dgm:spPr>
      <dgm:t>
        <a:bodyPr/>
        <a:lstStyle/>
        <a:p>
          <a:r>
            <a:rPr lang="en-US" altLang="zh-TW" sz="1800" dirty="0"/>
            <a:t>Device ID 2</a:t>
          </a:r>
        </a:p>
      </dgm:t>
    </dgm:pt>
    <dgm:pt modelId="{A95ECBAD-98CE-4C2B-9592-BC3B2546B3DC}" type="parTrans" cxnId="{C701AD67-8BE8-44DE-BF74-C2C32C2AAC59}">
      <dgm:prSet/>
      <dgm:spPr/>
      <dgm:t>
        <a:bodyPr/>
        <a:lstStyle/>
        <a:p>
          <a:endParaRPr lang="en-US" altLang="zh-TW"/>
        </a:p>
      </dgm:t>
    </dgm:pt>
    <dgm:pt modelId="{AC8669CC-D16C-4CBD-B060-0232792A9EBC}" type="sibTrans" cxnId="{C701AD67-8BE8-44DE-BF74-C2C32C2AAC59}">
      <dgm:prSet/>
      <dgm:spPr/>
      <dgm:t>
        <a:bodyPr/>
        <a:lstStyle/>
        <a:p>
          <a:endParaRPr lang="en-US" altLang="zh-TW"/>
        </a:p>
      </dgm:t>
    </dgm:pt>
    <dgm:pt modelId="{9847DCF0-D81D-44D1-B392-6258448D5803}">
      <dgm:prSet phldrT="[Text]" custT="1"/>
      <dgm:spPr>
        <a:solidFill>
          <a:srgbClr val="92D050"/>
        </a:solidFill>
      </dgm:spPr>
      <dgm:t>
        <a:bodyPr/>
        <a:lstStyle/>
        <a:p>
          <a:r>
            <a:rPr lang="en-US" altLang="zh-TW" sz="1800" dirty="0"/>
            <a:t>Device ID 3</a:t>
          </a:r>
        </a:p>
      </dgm:t>
    </dgm:pt>
    <dgm:pt modelId="{040795DC-07C3-48E9-88FC-1B07D3D79670}" type="parTrans" cxnId="{ACC3A40E-0088-4577-BC4B-86108615B03A}">
      <dgm:prSet/>
      <dgm:spPr/>
      <dgm:t>
        <a:bodyPr/>
        <a:lstStyle/>
        <a:p>
          <a:endParaRPr lang="en-US" altLang="zh-TW"/>
        </a:p>
      </dgm:t>
    </dgm:pt>
    <dgm:pt modelId="{ACF2DF66-7A8C-416E-AAB0-EE0552755CCD}" type="sibTrans" cxnId="{ACC3A40E-0088-4577-BC4B-86108615B03A}">
      <dgm:prSet/>
      <dgm:spPr/>
      <dgm:t>
        <a:bodyPr/>
        <a:lstStyle/>
        <a:p>
          <a:endParaRPr lang="en-US" altLang="zh-TW"/>
        </a:p>
      </dgm:t>
    </dgm:pt>
    <dgm:pt modelId="{51C5F309-CB9F-4906-AAAC-FDE404529ACF}">
      <dgm:prSet phldrT="[Text]" custT="1"/>
      <dgm:spPr>
        <a:solidFill>
          <a:srgbClr val="92D050"/>
        </a:solidFill>
        <a:ln w="10795" cap="flat" cmpd="sng" algn="ctr">
          <a:solidFill>
            <a:srgbClr val="FFFFFF">
              <a:hueOff val="0"/>
              <a:satOff val="0"/>
              <a:lumOff val="0"/>
              <a:alphaOff val="0"/>
            </a:srgbClr>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altLang="zh-TW" sz="1800" kern="1200" dirty="0">
              <a:solidFill>
                <a:srgbClr val="FFFFFF"/>
              </a:solidFill>
              <a:latin typeface="Segoe UI"/>
              <a:ea typeface="+mn-ea"/>
              <a:cs typeface="+mn-cs"/>
            </a:rPr>
            <a:t>…</a:t>
          </a:r>
        </a:p>
      </dgm:t>
    </dgm:pt>
    <dgm:pt modelId="{2BB8BB41-A752-4B49-BC6C-2EACC9FD5F07}" type="parTrans" cxnId="{5AF8707C-D621-421F-B6E6-AAE233C6AA57}">
      <dgm:prSet/>
      <dgm:spPr/>
      <dgm:t>
        <a:bodyPr/>
        <a:lstStyle/>
        <a:p>
          <a:endParaRPr lang="en-US" altLang="zh-TW"/>
        </a:p>
      </dgm:t>
    </dgm:pt>
    <dgm:pt modelId="{16708DDD-FD07-4598-BA53-585E42090607}" type="sibTrans" cxnId="{5AF8707C-D621-421F-B6E6-AAE233C6AA57}">
      <dgm:prSet/>
      <dgm:spPr/>
      <dgm:t>
        <a:bodyPr/>
        <a:lstStyle/>
        <a:p>
          <a:endParaRPr lang="en-US" altLang="zh-TW"/>
        </a:p>
      </dgm:t>
    </dgm:pt>
    <dgm:pt modelId="{B799F93F-07EB-4D40-8865-A497D59B3ABD}">
      <dgm:prSet phldrT="[Text]" custT="1"/>
      <dgm:spPr>
        <a:solidFill>
          <a:schemeClr val="accent6">
            <a:lumMod val="40000"/>
            <a:lumOff val="60000"/>
          </a:schemeClr>
        </a:solidFill>
      </dgm:spPr>
      <dgm:t>
        <a:bodyPr/>
        <a:lstStyle/>
        <a:p>
          <a:r>
            <a:rPr lang="en-US" altLang="zh-TW" sz="1800" dirty="0"/>
            <a:t>001.png</a:t>
          </a:r>
        </a:p>
      </dgm:t>
    </dgm:pt>
    <dgm:pt modelId="{9D7915FE-2DB2-4848-B7D9-4CC23E4EC759}" type="parTrans" cxnId="{75722604-2458-4EA1-8083-D8682BAAC59D}">
      <dgm:prSet/>
      <dgm:spPr/>
      <dgm:t>
        <a:bodyPr/>
        <a:lstStyle/>
        <a:p>
          <a:endParaRPr lang="en-US" altLang="zh-TW"/>
        </a:p>
      </dgm:t>
    </dgm:pt>
    <dgm:pt modelId="{9CFCBCE1-CAC4-450E-BDE1-76551EFAB822}" type="sibTrans" cxnId="{75722604-2458-4EA1-8083-D8682BAAC59D}">
      <dgm:prSet/>
      <dgm:spPr/>
      <dgm:t>
        <a:bodyPr/>
        <a:lstStyle/>
        <a:p>
          <a:endParaRPr lang="en-US" altLang="zh-TW"/>
        </a:p>
      </dgm:t>
    </dgm:pt>
    <dgm:pt modelId="{ADC278E7-94B3-41AB-B0A8-301FF1B53305}">
      <dgm:prSet phldrT="[Text]" custT="1"/>
      <dgm:spPr>
        <a:solidFill>
          <a:schemeClr val="accent6">
            <a:lumMod val="40000"/>
            <a:lumOff val="60000"/>
          </a:schemeClr>
        </a:solidFill>
      </dgm:spPr>
      <dgm:t>
        <a:bodyPr/>
        <a:lstStyle/>
        <a:p>
          <a:r>
            <a:rPr lang="en-US" altLang="zh-TW" sz="1800" dirty="0"/>
            <a:t>002.png</a:t>
          </a:r>
        </a:p>
      </dgm:t>
    </dgm:pt>
    <dgm:pt modelId="{7EFAAD3C-F536-425D-B057-2F0516EF08A5}" type="parTrans" cxnId="{9787448E-C7DE-4403-A5AC-F5D97D42F48A}">
      <dgm:prSet/>
      <dgm:spPr/>
      <dgm:t>
        <a:bodyPr/>
        <a:lstStyle/>
        <a:p>
          <a:endParaRPr lang="en-US" altLang="zh-TW"/>
        </a:p>
      </dgm:t>
    </dgm:pt>
    <dgm:pt modelId="{D8C3FE49-6802-4F57-9EC6-E2FFDD9D4BAF}" type="sibTrans" cxnId="{9787448E-C7DE-4403-A5AC-F5D97D42F48A}">
      <dgm:prSet/>
      <dgm:spPr/>
      <dgm:t>
        <a:bodyPr/>
        <a:lstStyle/>
        <a:p>
          <a:endParaRPr lang="en-US" altLang="zh-TW"/>
        </a:p>
      </dgm:t>
    </dgm:pt>
    <dgm:pt modelId="{F4C73084-09A5-4B5F-B85E-124FA3599355}">
      <dgm:prSet phldrT="[Text]" custT="1"/>
      <dgm:spPr>
        <a:solidFill>
          <a:schemeClr val="accent6">
            <a:lumMod val="40000"/>
            <a:lumOff val="60000"/>
          </a:schemeClr>
        </a:solidFill>
      </dgm:spPr>
      <dgm:t>
        <a:bodyPr/>
        <a:lstStyle/>
        <a:p>
          <a:r>
            <a:rPr lang="en-US" altLang="zh-TW" sz="1800" dirty="0"/>
            <a:t>101.mov</a:t>
          </a:r>
        </a:p>
      </dgm:t>
    </dgm:pt>
    <dgm:pt modelId="{3382A3F4-A807-4630-80B0-D630BB685B25}" type="parTrans" cxnId="{2FEA0093-CA59-4695-98AF-DA5C69ECBA75}">
      <dgm:prSet/>
      <dgm:spPr/>
      <dgm:t>
        <a:bodyPr/>
        <a:lstStyle/>
        <a:p>
          <a:endParaRPr lang="en-US" altLang="zh-TW"/>
        </a:p>
      </dgm:t>
    </dgm:pt>
    <dgm:pt modelId="{360E8E5B-4C40-4F2E-AF93-A295F0CE20F6}" type="sibTrans" cxnId="{2FEA0093-CA59-4695-98AF-DA5C69ECBA75}">
      <dgm:prSet/>
      <dgm:spPr/>
      <dgm:t>
        <a:bodyPr/>
        <a:lstStyle/>
        <a:p>
          <a:endParaRPr lang="en-US" altLang="zh-TW"/>
        </a:p>
      </dgm:t>
    </dgm:pt>
    <dgm:pt modelId="{90EAA55D-7F55-4042-B845-EA42966AB30E}">
      <dgm:prSet phldrT="[Text]" custT="1"/>
      <dgm:spPr>
        <a:solidFill>
          <a:schemeClr val="accent6">
            <a:lumMod val="40000"/>
            <a:lumOff val="60000"/>
          </a:schemeClr>
        </a:solidFill>
      </dgm:spPr>
      <dgm:t>
        <a:bodyPr/>
        <a:lstStyle/>
        <a:p>
          <a:r>
            <a:rPr lang="en-US" altLang="zh-TW" sz="1800" dirty="0"/>
            <a:t>…</a:t>
          </a:r>
        </a:p>
      </dgm:t>
    </dgm:pt>
    <dgm:pt modelId="{F768D650-DA89-46F2-8B8D-E7C24EB41D0E}" type="parTrans" cxnId="{CD3A27DF-FC09-42AF-93A5-A86B312A8C75}">
      <dgm:prSet/>
      <dgm:spPr/>
      <dgm:t>
        <a:bodyPr/>
        <a:lstStyle/>
        <a:p>
          <a:endParaRPr lang="en-US" altLang="zh-TW"/>
        </a:p>
      </dgm:t>
    </dgm:pt>
    <dgm:pt modelId="{91B612E5-D519-497D-A130-320869DEA7A1}" type="sibTrans" cxnId="{CD3A27DF-FC09-42AF-93A5-A86B312A8C75}">
      <dgm:prSet/>
      <dgm:spPr/>
      <dgm:t>
        <a:bodyPr/>
        <a:lstStyle/>
        <a:p>
          <a:endParaRPr lang="en-US" altLang="zh-TW"/>
        </a:p>
      </dgm:t>
    </dgm:pt>
    <dgm:pt modelId="{88029883-9054-4F82-8A1A-5814E3CC13A0}" type="pres">
      <dgm:prSet presAssocID="{454A9312-3FE2-4480-A0B5-AB5FF4EA7103}" presName="diagram" presStyleCnt="0">
        <dgm:presLayoutVars>
          <dgm:chPref val="1"/>
          <dgm:dir/>
          <dgm:animOne val="branch"/>
          <dgm:animLvl val="lvl"/>
          <dgm:resizeHandles val="exact"/>
        </dgm:presLayoutVars>
      </dgm:prSet>
      <dgm:spPr/>
    </dgm:pt>
    <dgm:pt modelId="{7AEED4E9-D4AC-4565-B464-CA300DF5A905}" type="pres">
      <dgm:prSet presAssocID="{DE4D5C3C-4890-4574-811F-C43D1275323F}" presName="root1" presStyleCnt="0"/>
      <dgm:spPr/>
    </dgm:pt>
    <dgm:pt modelId="{4E12961D-B818-41A6-841C-94889E3B2D58}" type="pres">
      <dgm:prSet presAssocID="{DE4D5C3C-4890-4574-811F-C43D1275323F}" presName="LevelOneTextNode" presStyleLbl="node0" presStyleIdx="0" presStyleCnt="1" custScaleX="77656" custScaleY="47409" custLinFactY="-8135" custLinFactNeighborX="-112" custLinFactNeighborY="-100000">
        <dgm:presLayoutVars>
          <dgm:chPref val="3"/>
        </dgm:presLayoutVars>
      </dgm:prSet>
      <dgm:spPr/>
    </dgm:pt>
    <dgm:pt modelId="{E010290B-94E9-402C-ABDB-45740DA23495}" type="pres">
      <dgm:prSet presAssocID="{DE4D5C3C-4890-4574-811F-C43D1275323F}" presName="level2hierChild" presStyleCnt="0"/>
      <dgm:spPr/>
    </dgm:pt>
    <dgm:pt modelId="{76718D68-A504-49B8-BE34-DC69D644C383}" type="pres">
      <dgm:prSet presAssocID="{70BA39D1-21DC-40B5-A74B-66243FF55C71}" presName="conn2-1" presStyleLbl="parChTrans1D2" presStyleIdx="0" presStyleCnt="1"/>
      <dgm:spPr/>
    </dgm:pt>
    <dgm:pt modelId="{93A6374E-408E-4CB7-ADE5-B7231751663F}" type="pres">
      <dgm:prSet presAssocID="{70BA39D1-21DC-40B5-A74B-66243FF55C71}" presName="connTx" presStyleLbl="parChTrans1D2" presStyleIdx="0" presStyleCnt="1"/>
      <dgm:spPr/>
    </dgm:pt>
    <dgm:pt modelId="{0DD0F68D-FF27-404E-8B39-9921282D64F6}" type="pres">
      <dgm:prSet presAssocID="{0D85150C-8F2A-4EFD-9761-98BF306976C1}" presName="root2" presStyleCnt="0"/>
      <dgm:spPr/>
    </dgm:pt>
    <dgm:pt modelId="{34C7FBE4-2C10-4BF3-88D2-D96C9C013476}" type="pres">
      <dgm:prSet presAssocID="{0D85150C-8F2A-4EFD-9761-98BF306976C1}" presName="LevelTwoTextNode" presStyleLbl="node2" presStyleIdx="0" presStyleCnt="1" custScaleY="47409" custLinFactNeighborX="-29201" custLinFactNeighborY="17639">
        <dgm:presLayoutVars>
          <dgm:chPref val="3"/>
        </dgm:presLayoutVars>
      </dgm:prSet>
      <dgm:spPr/>
    </dgm:pt>
    <dgm:pt modelId="{1FC8B4E1-1239-4891-A664-C08B06EA3988}" type="pres">
      <dgm:prSet presAssocID="{0D85150C-8F2A-4EFD-9761-98BF306976C1}" presName="level3hierChild" presStyleCnt="0"/>
      <dgm:spPr/>
    </dgm:pt>
    <dgm:pt modelId="{95B403F3-1516-4951-B5A4-B8BA6F7AF442}" type="pres">
      <dgm:prSet presAssocID="{CE79AE17-7139-4327-A57A-3F1CC0A4C740}" presName="conn2-1" presStyleLbl="parChTrans1D3" presStyleIdx="0" presStyleCnt="4"/>
      <dgm:spPr/>
    </dgm:pt>
    <dgm:pt modelId="{D8EC7603-0B1A-4893-88DB-6156AA026646}" type="pres">
      <dgm:prSet presAssocID="{CE79AE17-7139-4327-A57A-3F1CC0A4C740}" presName="connTx" presStyleLbl="parChTrans1D3" presStyleIdx="0" presStyleCnt="4"/>
      <dgm:spPr/>
    </dgm:pt>
    <dgm:pt modelId="{9B3A51BB-3B2F-4E7A-8831-035D48E879B9}" type="pres">
      <dgm:prSet presAssocID="{74FD31A4-75AF-41E8-99DF-7EB8D46854AB}" presName="root2" presStyleCnt="0"/>
      <dgm:spPr/>
    </dgm:pt>
    <dgm:pt modelId="{0A2FB143-2A96-4FD1-9EC6-EBB728C66170}" type="pres">
      <dgm:prSet presAssocID="{74FD31A4-75AF-41E8-99DF-7EB8D46854AB}" presName="LevelTwoTextNode" presStyleLbl="node3" presStyleIdx="0" presStyleCnt="4" custScaleX="90910" custScaleY="47409" custLinFactNeighborX="-35765" custLinFactNeighborY="11221">
        <dgm:presLayoutVars>
          <dgm:chPref val="3"/>
        </dgm:presLayoutVars>
      </dgm:prSet>
      <dgm:spPr/>
    </dgm:pt>
    <dgm:pt modelId="{C010DCB9-8F76-4692-A683-82D731DC93D4}" type="pres">
      <dgm:prSet presAssocID="{74FD31A4-75AF-41E8-99DF-7EB8D46854AB}" presName="level3hierChild" presStyleCnt="0"/>
      <dgm:spPr/>
    </dgm:pt>
    <dgm:pt modelId="{762C2E9E-541D-41F2-BDAB-3DC1E0883BC0}" type="pres">
      <dgm:prSet presAssocID="{A95ECBAD-98CE-4C2B-9592-BC3B2546B3DC}" presName="conn2-1" presStyleLbl="parChTrans1D3" presStyleIdx="1" presStyleCnt="4"/>
      <dgm:spPr/>
    </dgm:pt>
    <dgm:pt modelId="{ACB7961A-E393-4735-AC2A-29F137BFF20D}" type="pres">
      <dgm:prSet presAssocID="{A95ECBAD-98CE-4C2B-9592-BC3B2546B3DC}" presName="connTx" presStyleLbl="parChTrans1D3" presStyleIdx="1" presStyleCnt="4"/>
      <dgm:spPr/>
    </dgm:pt>
    <dgm:pt modelId="{A86CADC2-AE6B-4ECA-A184-D9DC52C6248C}" type="pres">
      <dgm:prSet presAssocID="{A0553F21-A3B7-4BF4-9377-76A98F4B93A1}" presName="root2" presStyleCnt="0"/>
      <dgm:spPr/>
    </dgm:pt>
    <dgm:pt modelId="{A5EB56C2-DD71-432F-8787-98EBF23DFA6D}" type="pres">
      <dgm:prSet presAssocID="{A0553F21-A3B7-4BF4-9377-76A98F4B93A1}" presName="LevelTwoTextNode" presStyleLbl="node3" presStyleIdx="1" presStyleCnt="4" custScaleX="90910" custScaleY="47409" custLinFactNeighborX="-35765" custLinFactNeighborY="27806">
        <dgm:presLayoutVars>
          <dgm:chPref val="3"/>
        </dgm:presLayoutVars>
      </dgm:prSet>
      <dgm:spPr/>
    </dgm:pt>
    <dgm:pt modelId="{5859A51C-9EA0-4D6E-8B69-C21ED3493851}" type="pres">
      <dgm:prSet presAssocID="{A0553F21-A3B7-4BF4-9377-76A98F4B93A1}" presName="level3hierChild" presStyleCnt="0"/>
      <dgm:spPr/>
    </dgm:pt>
    <dgm:pt modelId="{8EACFE31-7E37-45E6-A9D7-3D819783BA98}" type="pres">
      <dgm:prSet presAssocID="{040795DC-07C3-48E9-88FC-1B07D3D79670}" presName="conn2-1" presStyleLbl="parChTrans1D3" presStyleIdx="2" presStyleCnt="4"/>
      <dgm:spPr/>
    </dgm:pt>
    <dgm:pt modelId="{B8112498-C131-463E-B10F-CFF73291F56D}" type="pres">
      <dgm:prSet presAssocID="{040795DC-07C3-48E9-88FC-1B07D3D79670}" presName="connTx" presStyleLbl="parChTrans1D3" presStyleIdx="2" presStyleCnt="4"/>
      <dgm:spPr/>
    </dgm:pt>
    <dgm:pt modelId="{B436F47E-D199-4B37-839D-C69059E5832C}" type="pres">
      <dgm:prSet presAssocID="{9847DCF0-D81D-44D1-B392-6258448D5803}" presName="root2" presStyleCnt="0"/>
      <dgm:spPr/>
    </dgm:pt>
    <dgm:pt modelId="{36B8186D-D02C-4447-BD03-EA8FD5D649B8}" type="pres">
      <dgm:prSet presAssocID="{9847DCF0-D81D-44D1-B392-6258448D5803}" presName="LevelTwoTextNode" presStyleLbl="node3" presStyleIdx="2" presStyleCnt="4" custScaleX="90910" custScaleY="47409" custLinFactNeighborX="-35765" custLinFactNeighborY="37783">
        <dgm:presLayoutVars>
          <dgm:chPref val="3"/>
        </dgm:presLayoutVars>
      </dgm:prSet>
      <dgm:spPr/>
    </dgm:pt>
    <dgm:pt modelId="{C096989E-0B44-4586-B358-21700D016C99}" type="pres">
      <dgm:prSet presAssocID="{9847DCF0-D81D-44D1-B392-6258448D5803}" presName="level3hierChild" presStyleCnt="0"/>
      <dgm:spPr/>
    </dgm:pt>
    <dgm:pt modelId="{E94B2FCF-757A-4017-884F-A959CAA160D0}" type="pres">
      <dgm:prSet presAssocID="{9D7915FE-2DB2-4848-B7D9-4CC23E4EC759}" presName="conn2-1" presStyleLbl="parChTrans1D4" presStyleIdx="0" presStyleCnt="4"/>
      <dgm:spPr/>
    </dgm:pt>
    <dgm:pt modelId="{34E98C07-4430-40EE-B50B-A5C8B7E38781}" type="pres">
      <dgm:prSet presAssocID="{9D7915FE-2DB2-4848-B7D9-4CC23E4EC759}" presName="connTx" presStyleLbl="parChTrans1D4" presStyleIdx="0" presStyleCnt="4"/>
      <dgm:spPr/>
    </dgm:pt>
    <dgm:pt modelId="{AA5A7C92-B104-4EE9-9554-A9139480CF43}" type="pres">
      <dgm:prSet presAssocID="{B799F93F-07EB-4D40-8865-A497D59B3ABD}" presName="root2" presStyleCnt="0"/>
      <dgm:spPr/>
    </dgm:pt>
    <dgm:pt modelId="{3145A9B3-180D-47EA-B672-0E89D7858B84}" type="pres">
      <dgm:prSet presAssocID="{B799F93F-07EB-4D40-8865-A497D59B3ABD}" presName="LevelTwoTextNode" presStyleLbl="node4" presStyleIdx="0" presStyleCnt="4" custScaleY="47409" custLinFactNeighborX="-16810" custLinFactNeighborY="-19983">
        <dgm:presLayoutVars>
          <dgm:chPref val="3"/>
        </dgm:presLayoutVars>
      </dgm:prSet>
      <dgm:spPr/>
    </dgm:pt>
    <dgm:pt modelId="{C8F88550-FFEC-43A8-AAD1-14F245B77F74}" type="pres">
      <dgm:prSet presAssocID="{B799F93F-07EB-4D40-8865-A497D59B3ABD}" presName="level3hierChild" presStyleCnt="0"/>
      <dgm:spPr/>
    </dgm:pt>
    <dgm:pt modelId="{A5B2FBA9-B564-4071-8370-2E3AB2D4527E}" type="pres">
      <dgm:prSet presAssocID="{7EFAAD3C-F536-425D-B057-2F0516EF08A5}" presName="conn2-1" presStyleLbl="parChTrans1D4" presStyleIdx="1" presStyleCnt="4"/>
      <dgm:spPr/>
    </dgm:pt>
    <dgm:pt modelId="{994D9595-D366-4480-94FC-45A41DC1C17C}" type="pres">
      <dgm:prSet presAssocID="{7EFAAD3C-F536-425D-B057-2F0516EF08A5}" presName="connTx" presStyleLbl="parChTrans1D4" presStyleIdx="1" presStyleCnt="4"/>
      <dgm:spPr/>
    </dgm:pt>
    <dgm:pt modelId="{E0F294CA-16DD-4BCF-B686-3E79C3B10527}" type="pres">
      <dgm:prSet presAssocID="{ADC278E7-94B3-41AB-B0A8-301FF1B53305}" presName="root2" presStyleCnt="0"/>
      <dgm:spPr/>
    </dgm:pt>
    <dgm:pt modelId="{A94A13D7-E067-4169-8A6D-CBA3A3A69711}" type="pres">
      <dgm:prSet presAssocID="{ADC278E7-94B3-41AB-B0A8-301FF1B53305}" presName="LevelTwoTextNode" presStyleLbl="node4" presStyleIdx="1" presStyleCnt="4" custScaleY="47409" custLinFactNeighborX="-16810" custLinFactNeighborY="-3501">
        <dgm:presLayoutVars>
          <dgm:chPref val="3"/>
        </dgm:presLayoutVars>
      </dgm:prSet>
      <dgm:spPr/>
    </dgm:pt>
    <dgm:pt modelId="{B98EA8E2-C4C5-438F-9803-9EB3350F9643}" type="pres">
      <dgm:prSet presAssocID="{ADC278E7-94B3-41AB-B0A8-301FF1B53305}" presName="level3hierChild" presStyleCnt="0"/>
      <dgm:spPr/>
    </dgm:pt>
    <dgm:pt modelId="{0F7B6AB8-1797-4926-BF99-7BF081700696}" type="pres">
      <dgm:prSet presAssocID="{3382A3F4-A807-4630-80B0-D630BB685B25}" presName="conn2-1" presStyleLbl="parChTrans1D4" presStyleIdx="2" presStyleCnt="4"/>
      <dgm:spPr/>
    </dgm:pt>
    <dgm:pt modelId="{293DADBA-0A31-4BFA-A4C4-394E8BA3B61E}" type="pres">
      <dgm:prSet presAssocID="{3382A3F4-A807-4630-80B0-D630BB685B25}" presName="connTx" presStyleLbl="parChTrans1D4" presStyleIdx="2" presStyleCnt="4"/>
      <dgm:spPr/>
    </dgm:pt>
    <dgm:pt modelId="{B8E678E4-347F-44F3-A0E5-FCA5C0D22ED6}" type="pres">
      <dgm:prSet presAssocID="{F4C73084-09A5-4B5F-B85E-124FA3599355}" presName="root2" presStyleCnt="0"/>
      <dgm:spPr/>
    </dgm:pt>
    <dgm:pt modelId="{A8072BA9-1A85-43BD-B54D-81DF6F3D5F12}" type="pres">
      <dgm:prSet presAssocID="{F4C73084-09A5-4B5F-B85E-124FA3599355}" presName="LevelTwoTextNode" presStyleLbl="node4" presStyleIdx="2" presStyleCnt="4" custScaleY="47409" custLinFactNeighborX="-16810" custLinFactNeighborY="5707">
        <dgm:presLayoutVars>
          <dgm:chPref val="3"/>
        </dgm:presLayoutVars>
      </dgm:prSet>
      <dgm:spPr/>
    </dgm:pt>
    <dgm:pt modelId="{2FD32C74-74DF-463C-8490-E5A94BFF4189}" type="pres">
      <dgm:prSet presAssocID="{F4C73084-09A5-4B5F-B85E-124FA3599355}" presName="level3hierChild" presStyleCnt="0"/>
      <dgm:spPr/>
    </dgm:pt>
    <dgm:pt modelId="{BFFB38C2-FC85-4B89-BDE0-402C94E6518D}" type="pres">
      <dgm:prSet presAssocID="{F768D650-DA89-46F2-8B8D-E7C24EB41D0E}" presName="conn2-1" presStyleLbl="parChTrans1D4" presStyleIdx="3" presStyleCnt="4"/>
      <dgm:spPr/>
    </dgm:pt>
    <dgm:pt modelId="{327BE7E0-198E-4328-B407-1639780BD96D}" type="pres">
      <dgm:prSet presAssocID="{F768D650-DA89-46F2-8B8D-E7C24EB41D0E}" presName="connTx" presStyleLbl="parChTrans1D4" presStyleIdx="3" presStyleCnt="4"/>
      <dgm:spPr/>
    </dgm:pt>
    <dgm:pt modelId="{1553A54C-BC5A-4780-B42B-0D03F0EB161F}" type="pres">
      <dgm:prSet presAssocID="{90EAA55D-7F55-4042-B845-EA42966AB30E}" presName="root2" presStyleCnt="0"/>
      <dgm:spPr/>
    </dgm:pt>
    <dgm:pt modelId="{11693C93-3E23-4A4C-99F2-A7EE2FC2855E}" type="pres">
      <dgm:prSet presAssocID="{90EAA55D-7F55-4042-B845-EA42966AB30E}" presName="LevelTwoTextNode" presStyleLbl="node4" presStyleIdx="3" presStyleCnt="4" custScaleY="47409" custLinFactNeighborX="-16810" custLinFactNeighborY="18661">
        <dgm:presLayoutVars>
          <dgm:chPref val="3"/>
        </dgm:presLayoutVars>
      </dgm:prSet>
      <dgm:spPr/>
    </dgm:pt>
    <dgm:pt modelId="{5755A254-DC63-46E2-B01C-40206200FE69}" type="pres">
      <dgm:prSet presAssocID="{90EAA55D-7F55-4042-B845-EA42966AB30E}" presName="level3hierChild" presStyleCnt="0"/>
      <dgm:spPr/>
    </dgm:pt>
    <dgm:pt modelId="{26F9509B-8B73-473D-A161-4705D2E811E4}" type="pres">
      <dgm:prSet presAssocID="{2BB8BB41-A752-4B49-BC6C-2EACC9FD5F07}" presName="conn2-1" presStyleLbl="parChTrans1D3" presStyleIdx="3" presStyleCnt="4"/>
      <dgm:spPr/>
    </dgm:pt>
    <dgm:pt modelId="{9AE80460-C961-4E93-8A01-F9A0580F966B}" type="pres">
      <dgm:prSet presAssocID="{2BB8BB41-A752-4B49-BC6C-2EACC9FD5F07}" presName="connTx" presStyleLbl="parChTrans1D3" presStyleIdx="3" presStyleCnt="4"/>
      <dgm:spPr/>
    </dgm:pt>
    <dgm:pt modelId="{76B3D5C5-3A90-46E9-A7E3-6A4CBB91704D}" type="pres">
      <dgm:prSet presAssocID="{51C5F309-CB9F-4906-AAAC-FDE404529ACF}" presName="root2" presStyleCnt="0"/>
      <dgm:spPr/>
    </dgm:pt>
    <dgm:pt modelId="{AB327727-74D4-4270-9C71-02BA4919B846}" type="pres">
      <dgm:prSet presAssocID="{51C5F309-CB9F-4906-AAAC-FDE404529ACF}" presName="LevelTwoTextNode" presStyleLbl="node3" presStyleIdx="3" presStyleCnt="4" custScaleX="90910" custScaleY="47409" custLinFactNeighborX="-35765" custLinFactNeighborY="50920">
        <dgm:presLayoutVars>
          <dgm:chPref val="3"/>
        </dgm:presLayoutVars>
      </dgm:prSet>
      <dgm:spPr>
        <a:xfrm>
          <a:off x="5227285" y="3936477"/>
          <a:ext cx="2070986" cy="540003"/>
        </a:xfrm>
        <a:prstGeom prst="roundRect">
          <a:avLst>
            <a:gd name="adj" fmla="val 10000"/>
          </a:avLst>
        </a:prstGeom>
      </dgm:spPr>
    </dgm:pt>
    <dgm:pt modelId="{8B763D35-B4E2-4379-91BB-EA1C97F62C1A}" type="pres">
      <dgm:prSet presAssocID="{51C5F309-CB9F-4906-AAAC-FDE404529ACF}" presName="level3hierChild" presStyleCnt="0"/>
      <dgm:spPr/>
    </dgm:pt>
  </dgm:ptLst>
  <dgm:cxnLst>
    <dgm:cxn modelId="{16542802-CC1F-4F9E-A695-B2B9538FE1F8}" type="presOf" srcId="{70BA39D1-21DC-40B5-A74B-66243FF55C71}" destId="{93A6374E-408E-4CB7-ADE5-B7231751663F}" srcOrd="1" destOrd="0" presId="urn:microsoft.com/office/officeart/2005/8/layout/hierarchy2"/>
    <dgm:cxn modelId="{75722604-2458-4EA1-8083-D8682BAAC59D}" srcId="{9847DCF0-D81D-44D1-B392-6258448D5803}" destId="{B799F93F-07EB-4D40-8865-A497D59B3ABD}" srcOrd="0" destOrd="0" parTransId="{9D7915FE-2DB2-4848-B7D9-4CC23E4EC759}" sibTransId="{9CFCBCE1-CAC4-450E-BDE1-76551EFAB822}"/>
    <dgm:cxn modelId="{80FE2E05-0ED1-4C91-BA1D-5742C0F52876}" type="presOf" srcId="{7EFAAD3C-F536-425D-B057-2F0516EF08A5}" destId="{994D9595-D366-4480-94FC-45A41DC1C17C}" srcOrd="1" destOrd="0" presId="urn:microsoft.com/office/officeart/2005/8/layout/hierarchy2"/>
    <dgm:cxn modelId="{ACC3A40E-0088-4577-BC4B-86108615B03A}" srcId="{0D85150C-8F2A-4EFD-9761-98BF306976C1}" destId="{9847DCF0-D81D-44D1-B392-6258448D5803}" srcOrd="2" destOrd="0" parTransId="{040795DC-07C3-48E9-88FC-1B07D3D79670}" sibTransId="{ACF2DF66-7A8C-416E-AAB0-EE0552755CCD}"/>
    <dgm:cxn modelId="{3D1BE918-97A0-44ED-BCA3-D8577422EC56}" type="presOf" srcId="{2BB8BB41-A752-4B49-BC6C-2EACC9FD5F07}" destId="{26F9509B-8B73-473D-A161-4705D2E811E4}" srcOrd="0" destOrd="0" presId="urn:microsoft.com/office/officeart/2005/8/layout/hierarchy2"/>
    <dgm:cxn modelId="{1AB2F620-3641-4111-8315-00027F9024B1}" type="presOf" srcId="{454A9312-3FE2-4480-A0B5-AB5FF4EA7103}" destId="{88029883-9054-4F82-8A1A-5814E3CC13A0}" srcOrd="0" destOrd="0" presId="urn:microsoft.com/office/officeart/2005/8/layout/hierarchy2"/>
    <dgm:cxn modelId="{CB191126-684C-4E37-BE62-E64BCA5BF07D}" type="presOf" srcId="{7EFAAD3C-F536-425D-B057-2F0516EF08A5}" destId="{A5B2FBA9-B564-4071-8370-2E3AB2D4527E}" srcOrd="0" destOrd="0" presId="urn:microsoft.com/office/officeart/2005/8/layout/hierarchy2"/>
    <dgm:cxn modelId="{3070462D-CD26-486F-85B6-7B743AD49E2D}" type="presOf" srcId="{A95ECBAD-98CE-4C2B-9592-BC3B2546B3DC}" destId="{762C2E9E-541D-41F2-BDAB-3DC1E0883BC0}" srcOrd="0" destOrd="0" presId="urn:microsoft.com/office/officeart/2005/8/layout/hierarchy2"/>
    <dgm:cxn modelId="{BE863A32-F640-47AF-855C-6B01BF60C941}" type="presOf" srcId="{3382A3F4-A807-4630-80B0-D630BB685B25}" destId="{293DADBA-0A31-4BFA-A4C4-394E8BA3B61E}" srcOrd="1" destOrd="0" presId="urn:microsoft.com/office/officeart/2005/8/layout/hierarchy2"/>
    <dgm:cxn modelId="{116D2438-2F85-4809-BB47-73E7A90DEE3F}" type="presOf" srcId="{CE79AE17-7139-4327-A57A-3F1CC0A4C740}" destId="{D8EC7603-0B1A-4893-88DB-6156AA026646}" srcOrd="1" destOrd="0" presId="urn:microsoft.com/office/officeart/2005/8/layout/hierarchy2"/>
    <dgm:cxn modelId="{FA22A039-1FF2-4041-B601-CED85E8D21A3}" type="presOf" srcId="{F768D650-DA89-46F2-8B8D-E7C24EB41D0E}" destId="{BFFB38C2-FC85-4B89-BDE0-402C94E6518D}" srcOrd="0" destOrd="0" presId="urn:microsoft.com/office/officeart/2005/8/layout/hierarchy2"/>
    <dgm:cxn modelId="{565F0B40-2F5C-48FC-8019-81FF86512849}" srcId="{454A9312-3FE2-4480-A0B5-AB5FF4EA7103}" destId="{DE4D5C3C-4890-4574-811F-C43D1275323F}" srcOrd="0" destOrd="0" parTransId="{F3088913-8B92-4F98-B8C9-077C20B703B1}" sibTransId="{B24B313A-0561-4AC7-8135-13A2F0C7FC29}"/>
    <dgm:cxn modelId="{A161C15D-BD43-4833-BDD1-45DD3668E902}" type="presOf" srcId="{90EAA55D-7F55-4042-B845-EA42966AB30E}" destId="{11693C93-3E23-4A4C-99F2-A7EE2FC2855E}" srcOrd="0" destOrd="0" presId="urn:microsoft.com/office/officeart/2005/8/layout/hierarchy2"/>
    <dgm:cxn modelId="{C701AD67-8BE8-44DE-BF74-C2C32C2AAC59}" srcId="{0D85150C-8F2A-4EFD-9761-98BF306976C1}" destId="{A0553F21-A3B7-4BF4-9377-76A98F4B93A1}" srcOrd="1" destOrd="0" parTransId="{A95ECBAD-98CE-4C2B-9592-BC3B2546B3DC}" sibTransId="{AC8669CC-D16C-4CBD-B060-0232792A9EBC}"/>
    <dgm:cxn modelId="{07D12168-AC34-4320-A16E-945F07CF7299}" type="presOf" srcId="{CE79AE17-7139-4327-A57A-3F1CC0A4C740}" destId="{95B403F3-1516-4951-B5A4-B8BA6F7AF442}" srcOrd="0" destOrd="0" presId="urn:microsoft.com/office/officeart/2005/8/layout/hierarchy2"/>
    <dgm:cxn modelId="{CE545950-125B-41DD-BF2F-973D5B07EAA4}" type="presOf" srcId="{B799F93F-07EB-4D40-8865-A497D59B3ABD}" destId="{3145A9B3-180D-47EA-B672-0E89D7858B84}" srcOrd="0" destOrd="0" presId="urn:microsoft.com/office/officeart/2005/8/layout/hierarchy2"/>
    <dgm:cxn modelId="{9379CF70-A99E-4EDA-964A-017BD8EA5B70}" type="presOf" srcId="{ADC278E7-94B3-41AB-B0A8-301FF1B53305}" destId="{A94A13D7-E067-4169-8A6D-CBA3A3A69711}" srcOrd="0" destOrd="0" presId="urn:microsoft.com/office/officeart/2005/8/layout/hierarchy2"/>
    <dgm:cxn modelId="{F5186953-3BF9-45EC-B46A-5F6BCCFE4491}" type="presOf" srcId="{F4C73084-09A5-4B5F-B85E-124FA3599355}" destId="{A8072BA9-1A85-43BD-B54D-81DF6F3D5F12}" srcOrd="0" destOrd="0" presId="urn:microsoft.com/office/officeart/2005/8/layout/hierarchy2"/>
    <dgm:cxn modelId="{7EBAF758-A838-4B6D-9939-51A6C547F8B7}" type="presOf" srcId="{040795DC-07C3-48E9-88FC-1B07D3D79670}" destId="{8EACFE31-7E37-45E6-A9D7-3D819783BA98}" srcOrd="0" destOrd="0" presId="urn:microsoft.com/office/officeart/2005/8/layout/hierarchy2"/>
    <dgm:cxn modelId="{C3808A7B-D233-4A19-86FE-515F5B3B0618}" type="presOf" srcId="{0D85150C-8F2A-4EFD-9761-98BF306976C1}" destId="{34C7FBE4-2C10-4BF3-88D2-D96C9C013476}" srcOrd="0" destOrd="0" presId="urn:microsoft.com/office/officeart/2005/8/layout/hierarchy2"/>
    <dgm:cxn modelId="{5AF8707C-D621-421F-B6E6-AAE233C6AA57}" srcId="{0D85150C-8F2A-4EFD-9761-98BF306976C1}" destId="{51C5F309-CB9F-4906-AAAC-FDE404529ACF}" srcOrd="3" destOrd="0" parTransId="{2BB8BB41-A752-4B49-BC6C-2EACC9FD5F07}" sibTransId="{16708DDD-FD07-4598-BA53-585E42090607}"/>
    <dgm:cxn modelId="{E9D46689-9D15-40C0-9417-20E08694512C}" srcId="{DE4D5C3C-4890-4574-811F-C43D1275323F}" destId="{0D85150C-8F2A-4EFD-9761-98BF306976C1}" srcOrd="0" destOrd="0" parTransId="{70BA39D1-21DC-40B5-A74B-66243FF55C71}" sibTransId="{3B529A23-47F7-459F-BD33-88A402E3DB65}"/>
    <dgm:cxn modelId="{9787448E-C7DE-4403-A5AC-F5D97D42F48A}" srcId="{9847DCF0-D81D-44D1-B392-6258448D5803}" destId="{ADC278E7-94B3-41AB-B0A8-301FF1B53305}" srcOrd="1" destOrd="0" parTransId="{7EFAAD3C-F536-425D-B057-2F0516EF08A5}" sibTransId="{D8C3FE49-6802-4F57-9EC6-E2FFDD9D4BAF}"/>
    <dgm:cxn modelId="{2FEA0093-CA59-4695-98AF-DA5C69ECBA75}" srcId="{9847DCF0-D81D-44D1-B392-6258448D5803}" destId="{F4C73084-09A5-4B5F-B85E-124FA3599355}" srcOrd="2" destOrd="0" parTransId="{3382A3F4-A807-4630-80B0-D630BB685B25}" sibTransId="{360E8E5B-4C40-4F2E-AF93-A295F0CE20F6}"/>
    <dgm:cxn modelId="{7D63B299-1E6C-492A-A9F9-863C04DA4AF9}" type="presOf" srcId="{A95ECBAD-98CE-4C2B-9592-BC3B2546B3DC}" destId="{ACB7961A-E393-4735-AC2A-29F137BFF20D}" srcOrd="1" destOrd="0" presId="urn:microsoft.com/office/officeart/2005/8/layout/hierarchy2"/>
    <dgm:cxn modelId="{ACC6ACA4-CD76-4A7B-9961-2F5024732F8B}" type="presOf" srcId="{2BB8BB41-A752-4B49-BC6C-2EACC9FD5F07}" destId="{9AE80460-C961-4E93-8A01-F9A0580F966B}" srcOrd="1" destOrd="0" presId="urn:microsoft.com/office/officeart/2005/8/layout/hierarchy2"/>
    <dgm:cxn modelId="{3DB249A5-12DC-4FCE-9398-51416532F448}" type="presOf" srcId="{74FD31A4-75AF-41E8-99DF-7EB8D46854AB}" destId="{0A2FB143-2A96-4FD1-9EC6-EBB728C66170}" srcOrd="0" destOrd="0" presId="urn:microsoft.com/office/officeart/2005/8/layout/hierarchy2"/>
    <dgm:cxn modelId="{E672F0A7-5A7F-40B5-9510-EB35B983B6D4}" type="presOf" srcId="{040795DC-07C3-48E9-88FC-1B07D3D79670}" destId="{B8112498-C131-463E-B10F-CFF73291F56D}" srcOrd="1" destOrd="0" presId="urn:microsoft.com/office/officeart/2005/8/layout/hierarchy2"/>
    <dgm:cxn modelId="{1F8301AA-E51B-4E48-90F3-F34AADBC1A19}" type="presOf" srcId="{DE4D5C3C-4890-4574-811F-C43D1275323F}" destId="{4E12961D-B818-41A6-841C-94889E3B2D58}" srcOrd="0" destOrd="0" presId="urn:microsoft.com/office/officeart/2005/8/layout/hierarchy2"/>
    <dgm:cxn modelId="{A69951AB-1AB0-4A10-97C2-ADC451A83F52}" type="presOf" srcId="{9D7915FE-2DB2-4848-B7D9-4CC23E4EC759}" destId="{34E98C07-4430-40EE-B50B-A5C8B7E38781}" srcOrd="1" destOrd="0" presId="urn:microsoft.com/office/officeart/2005/8/layout/hierarchy2"/>
    <dgm:cxn modelId="{C2DCABC0-4CCB-4877-BEEE-6471BC456193}" type="presOf" srcId="{51C5F309-CB9F-4906-AAAC-FDE404529ACF}" destId="{AB327727-74D4-4270-9C71-02BA4919B846}" srcOrd="0" destOrd="0" presId="urn:microsoft.com/office/officeart/2005/8/layout/hierarchy2"/>
    <dgm:cxn modelId="{7F74DFC0-F107-44AC-A31E-8A71921D009E}" type="presOf" srcId="{3382A3F4-A807-4630-80B0-D630BB685B25}" destId="{0F7B6AB8-1797-4926-BF99-7BF081700696}" srcOrd="0" destOrd="0" presId="urn:microsoft.com/office/officeart/2005/8/layout/hierarchy2"/>
    <dgm:cxn modelId="{FC2A42C7-638F-4EC5-BEE3-FFCF090BCAEE}" type="presOf" srcId="{70BA39D1-21DC-40B5-A74B-66243FF55C71}" destId="{76718D68-A504-49B8-BE34-DC69D644C383}" srcOrd="0" destOrd="0" presId="urn:microsoft.com/office/officeart/2005/8/layout/hierarchy2"/>
    <dgm:cxn modelId="{4B4949CF-67FC-4CDB-B88F-4F864EB600A0}" type="presOf" srcId="{A0553F21-A3B7-4BF4-9377-76A98F4B93A1}" destId="{A5EB56C2-DD71-432F-8787-98EBF23DFA6D}" srcOrd="0" destOrd="0" presId="urn:microsoft.com/office/officeart/2005/8/layout/hierarchy2"/>
    <dgm:cxn modelId="{BBA954CF-4A63-4F0A-AF36-B2D20E1BC5D0}" type="presOf" srcId="{9D7915FE-2DB2-4848-B7D9-4CC23E4EC759}" destId="{E94B2FCF-757A-4017-884F-A959CAA160D0}" srcOrd="0" destOrd="0" presId="urn:microsoft.com/office/officeart/2005/8/layout/hierarchy2"/>
    <dgm:cxn modelId="{967C73D2-4CE2-466E-93A0-C23D8EF10663}" type="presOf" srcId="{9847DCF0-D81D-44D1-B392-6258448D5803}" destId="{36B8186D-D02C-4447-BD03-EA8FD5D649B8}" srcOrd="0" destOrd="0" presId="urn:microsoft.com/office/officeart/2005/8/layout/hierarchy2"/>
    <dgm:cxn modelId="{CD3A27DF-FC09-42AF-93A5-A86B312A8C75}" srcId="{9847DCF0-D81D-44D1-B392-6258448D5803}" destId="{90EAA55D-7F55-4042-B845-EA42966AB30E}" srcOrd="3" destOrd="0" parTransId="{F768D650-DA89-46F2-8B8D-E7C24EB41D0E}" sibTransId="{91B612E5-D519-497D-A130-320869DEA7A1}"/>
    <dgm:cxn modelId="{917D15F4-183E-452A-925A-AA59CAA377C9}" srcId="{0D85150C-8F2A-4EFD-9761-98BF306976C1}" destId="{74FD31A4-75AF-41E8-99DF-7EB8D46854AB}" srcOrd="0" destOrd="0" parTransId="{CE79AE17-7139-4327-A57A-3F1CC0A4C740}" sibTransId="{86E85BE2-3E74-4566-9C34-FB289A43E374}"/>
    <dgm:cxn modelId="{2CD7DFF8-F92A-4B44-A21F-2A8BAEAC73D2}" type="presOf" srcId="{F768D650-DA89-46F2-8B8D-E7C24EB41D0E}" destId="{327BE7E0-198E-4328-B407-1639780BD96D}" srcOrd="1" destOrd="0" presId="urn:microsoft.com/office/officeart/2005/8/layout/hierarchy2"/>
    <dgm:cxn modelId="{AB92C8AB-5FFE-49CE-A218-FD87849948E9}" type="presParOf" srcId="{88029883-9054-4F82-8A1A-5814E3CC13A0}" destId="{7AEED4E9-D4AC-4565-B464-CA300DF5A905}" srcOrd="0" destOrd="0" presId="urn:microsoft.com/office/officeart/2005/8/layout/hierarchy2"/>
    <dgm:cxn modelId="{E5DB8E2C-9E4C-437F-A5B5-FBE67218DF86}" type="presParOf" srcId="{7AEED4E9-D4AC-4565-B464-CA300DF5A905}" destId="{4E12961D-B818-41A6-841C-94889E3B2D58}" srcOrd="0" destOrd="0" presId="urn:microsoft.com/office/officeart/2005/8/layout/hierarchy2"/>
    <dgm:cxn modelId="{9BF2E59D-DA33-48D9-8636-6A8910DBAB1F}" type="presParOf" srcId="{7AEED4E9-D4AC-4565-B464-CA300DF5A905}" destId="{E010290B-94E9-402C-ABDB-45740DA23495}" srcOrd="1" destOrd="0" presId="urn:microsoft.com/office/officeart/2005/8/layout/hierarchy2"/>
    <dgm:cxn modelId="{6A1F4A04-330C-4662-A5A0-7CF2959A63FD}" type="presParOf" srcId="{E010290B-94E9-402C-ABDB-45740DA23495}" destId="{76718D68-A504-49B8-BE34-DC69D644C383}" srcOrd="0" destOrd="0" presId="urn:microsoft.com/office/officeart/2005/8/layout/hierarchy2"/>
    <dgm:cxn modelId="{F4AD6DE0-E82C-4C64-A376-71EA0C315628}" type="presParOf" srcId="{76718D68-A504-49B8-BE34-DC69D644C383}" destId="{93A6374E-408E-4CB7-ADE5-B7231751663F}" srcOrd="0" destOrd="0" presId="urn:microsoft.com/office/officeart/2005/8/layout/hierarchy2"/>
    <dgm:cxn modelId="{DEFA9EEA-74B9-4D2C-BC22-A9C77B280D55}" type="presParOf" srcId="{E010290B-94E9-402C-ABDB-45740DA23495}" destId="{0DD0F68D-FF27-404E-8B39-9921282D64F6}" srcOrd="1" destOrd="0" presId="urn:microsoft.com/office/officeart/2005/8/layout/hierarchy2"/>
    <dgm:cxn modelId="{044C8CAE-C70C-4001-BC2C-192C0F76005D}" type="presParOf" srcId="{0DD0F68D-FF27-404E-8B39-9921282D64F6}" destId="{34C7FBE4-2C10-4BF3-88D2-D96C9C013476}" srcOrd="0" destOrd="0" presId="urn:microsoft.com/office/officeart/2005/8/layout/hierarchy2"/>
    <dgm:cxn modelId="{C1337665-E3CA-4251-95B0-99F81C012833}" type="presParOf" srcId="{0DD0F68D-FF27-404E-8B39-9921282D64F6}" destId="{1FC8B4E1-1239-4891-A664-C08B06EA3988}" srcOrd="1" destOrd="0" presId="urn:microsoft.com/office/officeart/2005/8/layout/hierarchy2"/>
    <dgm:cxn modelId="{F5B4C57B-D711-4DF9-BAC1-E17431E94509}" type="presParOf" srcId="{1FC8B4E1-1239-4891-A664-C08B06EA3988}" destId="{95B403F3-1516-4951-B5A4-B8BA6F7AF442}" srcOrd="0" destOrd="0" presId="urn:microsoft.com/office/officeart/2005/8/layout/hierarchy2"/>
    <dgm:cxn modelId="{8B16998D-813C-4364-AC1C-5053443B6390}" type="presParOf" srcId="{95B403F3-1516-4951-B5A4-B8BA6F7AF442}" destId="{D8EC7603-0B1A-4893-88DB-6156AA026646}" srcOrd="0" destOrd="0" presId="urn:microsoft.com/office/officeart/2005/8/layout/hierarchy2"/>
    <dgm:cxn modelId="{9AE59D75-A954-4BB2-82C7-1D55A86E86D5}" type="presParOf" srcId="{1FC8B4E1-1239-4891-A664-C08B06EA3988}" destId="{9B3A51BB-3B2F-4E7A-8831-035D48E879B9}" srcOrd="1" destOrd="0" presId="urn:microsoft.com/office/officeart/2005/8/layout/hierarchy2"/>
    <dgm:cxn modelId="{4147EEFE-DA63-413E-9713-ED7FA7600B99}" type="presParOf" srcId="{9B3A51BB-3B2F-4E7A-8831-035D48E879B9}" destId="{0A2FB143-2A96-4FD1-9EC6-EBB728C66170}" srcOrd="0" destOrd="0" presId="urn:microsoft.com/office/officeart/2005/8/layout/hierarchy2"/>
    <dgm:cxn modelId="{500EB727-E215-416F-8AF7-E2D6A0B6C399}" type="presParOf" srcId="{9B3A51BB-3B2F-4E7A-8831-035D48E879B9}" destId="{C010DCB9-8F76-4692-A683-82D731DC93D4}" srcOrd="1" destOrd="0" presId="urn:microsoft.com/office/officeart/2005/8/layout/hierarchy2"/>
    <dgm:cxn modelId="{A48A5791-611B-4AF6-830C-DE733256926B}" type="presParOf" srcId="{1FC8B4E1-1239-4891-A664-C08B06EA3988}" destId="{762C2E9E-541D-41F2-BDAB-3DC1E0883BC0}" srcOrd="2" destOrd="0" presId="urn:microsoft.com/office/officeart/2005/8/layout/hierarchy2"/>
    <dgm:cxn modelId="{AAB8740E-43CF-4945-A3CA-073B933C94C3}" type="presParOf" srcId="{762C2E9E-541D-41F2-BDAB-3DC1E0883BC0}" destId="{ACB7961A-E393-4735-AC2A-29F137BFF20D}" srcOrd="0" destOrd="0" presId="urn:microsoft.com/office/officeart/2005/8/layout/hierarchy2"/>
    <dgm:cxn modelId="{74ED8911-BB5E-4E56-8F24-7455F63C353B}" type="presParOf" srcId="{1FC8B4E1-1239-4891-A664-C08B06EA3988}" destId="{A86CADC2-AE6B-4ECA-A184-D9DC52C6248C}" srcOrd="3" destOrd="0" presId="urn:microsoft.com/office/officeart/2005/8/layout/hierarchy2"/>
    <dgm:cxn modelId="{5C95C77C-4EBD-40DA-B37E-D3425AAD5494}" type="presParOf" srcId="{A86CADC2-AE6B-4ECA-A184-D9DC52C6248C}" destId="{A5EB56C2-DD71-432F-8787-98EBF23DFA6D}" srcOrd="0" destOrd="0" presId="urn:microsoft.com/office/officeart/2005/8/layout/hierarchy2"/>
    <dgm:cxn modelId="{9259A41E-29F0-447D-9B2A-8BF69AAFF3F5}" type="presParOf" srcId="{A86CADC2-AE6B-4ECA-A184-D9DC52C6248C}" destId="{5859A51C-9EA0-4D6E-8B69-C21ED3493851}" srcOrd="1" destOrd="0" presId="urn:microsoft.com/office/officeart/2005/8/layout/hierarchy2"/>
    <dgm:cxn modelId="{E0B95C04-D51F-42B6-BED4-ACE735786430}" type="presParOf" srcId="{1FC8B4E1-1239-4891-A664-C08B06EA3988}" destId="{8EACFE31-7E37-45E6-A9D7-3D819783BA98}" srcOrd="4" destOrd="0" presId="urn:microsoft.com/office/officeart/2005/8/layout/hierarchy2"/>
    <dgm:cxn modelId="{47D88594-033E-4A3C-96D6-A5837329CE29}" type="presParOf" srcId="{8EACFE31-7E37-45E6-A9D7-3D819783BA98}" destId="{B8112498-C131-463E-B10F-CFF73291F56D}" srcOrd="0" destOrd="0" presId="urn:microsoft.com/office/officeart/2005/8/layout/hierarchy2"/>
    <dgm:cxn modelId="{DE9A289C-7045-4459-9D13-13BAA1B6E3CB}" type="presParOf" srcId="{1FC8B4E1-1239-4891-A664-C08B06EA3988}" destId="{B436F47E-D199-4B37-839D-C69059E5832C}" srcOrd="5" destOrd="0" presId="urn:microsoft.com/office/officeart/2005/8/layout/hierarchy2"/>
    <dgm:cxn modelId="{9C877975-2B83-43D9-8D64-F23E595E7040}" type="presParOf" srcId="{B436F47E-D199-4B37-839D-C69059E5832C}" destId="{36B8186D-D02C-4447-BD03-EA8FD5D649B8}" srcOrd="0" destOrd="0" presId="urn:microsoft.com/office/officeart/2005/8/layout/hierarchy2"/>
    <dgm:cxn modelId="{DD042607-F7B5-4859-8322-08F3554D1B48}" type="presParOf" srcId="{B436F47E-D199-4B37-839D-C69059E5832C}" destId="{C096989E-0B44-4586-B358-21700D016C99}" srcOrd="1" destOrd="0" presId="urn:microsoft.com/office/officeart/2005/8/layout/hierarchy2"/>
    <dgm:cxn modelId="{E00F430A-8969-4702-B6DA-1E4E4086E37F}" type="presParOf" srcId="{C096989E-0B44-4586-B358-21700D016C99}" destId="{E94B2FCF-757A-4017-884F-A959CAA160D0}" srcOrd="0" destOrd="0" presId="urn:microsoft.com/office/officeart/2005/8/layout/hierarchy2"/>
    <dgm:cxn modelId="{B2013F93-4944-4122-B525-B8BA2B83E46C}" type="presParOf" srcId="{E94B2FCF-757A-4017-884F-A959CAA160D0}" destId="{34E98C07-4430-40EE-B50B-A5C8B7E38781}" srcOrd="0" destOrd="0" presId="urn:microsoft.com/office/officeart/2005/8/layout/hierarchy2"/>
    <dgm:cxn modelId="{5C26E5B9-6310-47D6-93A1-CD09538659A8}" type="presParOf" srcId="{C096989E-0B44-4586-B358-21700D016C99}" destId="{AA5A7C92-B104-4EE9-9554-A9139480CF43}" srcOrd="1" destOrd="0" presId="urn:microsoft.com/office/officeart/2005/8/layout/hierarchy2"/>
    <dgm:cxn modelId="{7313DC25-15E1-4760-9B45-69B625E71113}" type="presParOf" srcId="{AA5A7C92-B104-4EE9-9554-A9139480CF43}" destId="{3145A9B3-180D-47EA-B672-0E89D7858B84}" srcOrd="0" destOrd="0" presId="urn:microsoft.com/office/officeart/2005/8/layout/hierarchy2"/>
    <dgm:cxn modelId="{2E7F3E10-7DBB-45CA-9F1D-ABE806A45CA2}" type="presParOf" srcId="{AA5A7C92-B104-4EE9-9554-A9139480CF43}" destId="{C8F88550-FFEC-43A8-AAD1-14F245B77F74}" srcOrd="1" destOrd="0" presId="urn:microsoft.com/office/officeart/2005/8/layout/hierarchy2"/>
    <dgm:cxn modelId="{402740B5-1CB3-433D-9835-DD16A2EE861B}" type="presParOf" srcId="{C096989E-0B44-4586-B358-21700D016C99}" destId="{A5B2FBA9-B564-4071-8370-2E3AB2D4527E}" srcOrd="2" destOrd="0" presId="urn:microsoft.com/office/officeart/2005/8/layout/hierarchy2"/>
    <dgm:cxn modelId="{EB322C91-4C80-4D62-BE58-5026C7D52D02}" type="presParOf" srcId="{A5B2FBA9-B564-4071-8370-2E3AB2D4527E}" destId="{994D9595-D366-4480-94FC-45A41DC1C17C}" srcOrd="0" destOrd="0" presId="urn:microsoft.com/office/officeart/2005/8/layout/hierarchy2"/>
    <dgm:cxn modelId="{765FC281-FDCC-448F-9621-C3B29AE0E7EC}" type="presParOf" srcId="{C096989E-0B44-4586-B358-21700D016C99}" destId="{E0F294CA-16DD-4BCF-B686-3E79C3B10527}" srcOrd="3" destOrd="0" presId="urn:microsoft.com/office/officeart/2005/8/layout/hierarchy2"/>
    <dgm:cxn modelId="{6FA8C066-8076-47D8-A6EF-964087821774}" type="presParOf" srcId="{E0F294CA-16DD-4BCF-B686-3E79C3B10527}" destId="{A94A13D7-E067-4169-8A6D-CBA3A3A69711}" srcOrd="0" destOrd="0" presId="urn:microsoft.com/office/officeart/2005/8/layout/hierarchy2"/>
    <dgm:cxn modelId="{D53C08F2-33B4-470E-8B7D-A8E3758B46EA}" type="presParOf" srcId="{E0F294CA-16DD-4BCF-B686-3E79C3B10527}" destId="{B98EA8E2-C4C5-438F-9803-9EB3350F9643}" srcOrd="1" destOrd="0" presId="urn:microsoft.com/office/officeart/2005/8/layout/hierarchy2"/>
    <dgm:cxn modelId="{EA58BDC1-5A87-499C-B971-D24B8290A3C5}" type="presParOf" srcId="{C096989E-0B44-4586-B358-21700D016C99}" destId="{0F7B6AB8-1797-4926-BF99-7BF081700696}" srcOrd="4" destOrd="0" presId="urn:microsoft.com/office/officeart/2005/8/layout/hierarchy2"/>
    <dgm:cxn modelId="{978585FA-A68B-4BDA-B39C-2656CAD641F9}" type="presParOf" srcId="{0F7B6AB8-1797-4926-BF99-7BF081700696}" destId="{293DADBA-0A31-4BFA-A4C4-394E8BA3B61E}" srcOrd="0" destOrd="0" presId="urn:microsoft.com/office/officeart/2005/8/layout/hierarchy2"/>
    <dgm:cxn modelId="{67DEF1E5-FF83-49A7-A55C-589D7A4E59D5}" type="presParOf" srcId="{C096989E-0B44-4586-B358-21700D016C99}" destId="{B8E678E4-347F-44F3-A0E5-FCA5C0D22ED6}" srcOrd="5" destOrd="0" presId="urn:microsoft.com/office/officeart/2005/8/layout/hierarchy2"/>
    <dgm:cxn modelId="{7624E523-DB38-4F7E-8CD9-28B65178F4F6}" type="presParOf" srcId="{B8E678E4-347F-44F3-A0E5-FCA5C0D22ED6}" destId="{A8072BA9-1A85-43BD-B54D-81DF6F3D5F12}" srcOrd="0" destOrd="0" presId="urn:microsoft.com/office/officeart/2005/8/layout/hierarchy2"/>
    <dgm:cxn modelId="{C36CC3D5-A0FF-487E-B41C-CE0D153CE848}" type="presParOf" srcId="{B8E678E4-347F-44F3-A0E5-FCA5C0D22ED6}" destId="{2FD32C74-74DF-463C-8490-E5A94BFF4189}" srcOrd="1" destOrd="0" presId="urn:microsoft.com/office/officeart/2005/8/layout/hierarchy2"/>
    <dgm:cxn modelId="{9CD93FFF-AC93-446E-9D2D-7FED460625AB}" type="presParOf" srcId="{C096989E-0B44-4586-B358-21700D016C99}" destId="{BFFB38C2-FC85-4B89-BDE0-402C94E6518D}" srcOrd="6" destOrd="0" presId="urn:microsoft.com/office/officeart/2005/8/layout/hierarchy2"/>
    <dgm:cxn modelId="{5A95B436-F2F7-4C78-92C0-2F1488A73F53}" type="presParOf" srcId="{BFFB38C2-FC85-4B89-BDE0-402C94E6518D}" destId="{327BE7E0-198E-4328-B407-1639780BD96D}" srcOrd="0" destOrd="0" presId="urn:microsoft.com/office/officeart/2005/8/layout/hierarchy2"/>
    <dgm:cxn modelId="{9FF9CC6A-24D7-4CE4-95C6-7A889B029E4D}" type="presParOf" srcId="{C096989E-0B44-4586-B358-21700D016C99}" destId="{1553A54C-BC5A-4780-B42B-0D03F0EB161F}" srcOrd="7" destOrd="0" presId="urn:microsoft.com/office/officeart/2005/8/layout/hierarchy2"/>
    <dgm:cxn modelId="{BE88C417-1FC0-4D5D-BD4F-AD0D8EB2B59D}" type="presParOf" srcId="{1553A54C-BC5A-4780-B42B-0D03F0EB161F}" destId="{11693C93-3E23-4A4C-99F2-A7EE2FC2855E}" srcOrd="0" destOrd="0" presId="urn:microsoft.com/office/officeart/2005/8/layout/hierarchy2"/>
    <dgm:cxn modelId="{59C1C933-8244-4FE1-9CA7-03C01F111B46}" type="presParOf" srcId="{1553A54C-BC5A-4780-B42B-0D03F0EB161F}" destId="{5755A254-DC63-46E2-B01C-40206200FE69}" srcOrd="1" destOrd="0" presId="urn:microsoft.com/office/officeart/2005/8/layout/hierarchy2"/>
    <dgm:cxn modelId="{8D52BC62-ACCD-479A-898E-29CEF91176B9}" type="presParOf" srcId="{1FC8B4E1-1239-4891-A664-C08B06EA3988}" destId="{26F9509B-8B73-473D-A161-4705D2E811E4}" srcOrd="6" destOrd="0" presId="urn:microsoft.com/office/officeart/2005/8/layout/hierarchy2"/>
    <dgm:cxn modelId="{83B19A01-18AA-41A8-8347-FA5B39214E0E}" type="presParOf" srcId="{26F9509B-8B73-473D-A161-4705D2E811E4}" destId="{9AE80460-C961-4E93-8A01-F9A0580F966B}" srcOrd="0" destOrd="0" presId="urn:microsoft.com/office/officeart/2005/8/layout/hierarchy2"/>
    <dgm:cxn modelId="{F577B16C-A25A-4F73-8A94-67CB202BD144}" type="presParOf" srcId="{1FC8B4E1-1239-4891-A664-C08B06EA3988}" destId="{76B3D5C5-3A90-46E9-A7E3-6A4CBB91704D}" srcOrd="7" destOrd="0" presId="urn:microsoft.com/office/officeart/2005/8/layout/hierarchy2"/>
    <dgm:cxn modelId="{F4543E32-A2CD-4C5D-84B4-8B6852B31B0A}" type="presParOf" srcId="{76B3D5C5-3A90-46E9-A7E3-6A4CBB91704D}" destId="{AB327727-74D4-4270-9C71-02BA4919B846}" srcOrd="0" destOrd="0" presId="urn:microsoft.com/office/officeart/2005/8/layout/hierarchy2"/>
    <dgm:cxn modelId="{05F20E48-8B70-45A6-BD67-6606870467E2}" type="presParOf" srcId="{76B3D5C5-3A90-46E9-A7E3-6A4CBB91704D}" destId="{8B763D35-B4E2-4379-91BB-EA1C97F62C1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12961D-B818-41A6-841C-94889E3B2D58}">
      <dsp:nvSpPr>
        <dsp:cNvPr id="0" name=""/>
        <dsp:cNvSpPr/>
      </dsp:nvSpPr>
      <dsp:spPr>
        <a:xfrm>
          <a:off x="179" y="1029925"/>
          <a:ext cx="1769052" cy="540003"/>
        </a:xfrm>
        <a:prstGeom prst="roundRect">
          <a:avLst>
            <a:gd name="adj" fmla="val 10000"/>
          </a:avLst>
        </a:prstGeom>
        <a:solidFill>
          <a:srgbClr val="336600"/>
        </a:solidFill>
        <a:ln w="10795" cap="flat" cmpd="sng" algn="ctr">
          <a:solidFill>
            <a:srgbClr val="336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Blob</a:t>
          </a:r>
        </a:p>
      </dsp:txBody>
      <dsp:txXfrm>
        <a:off x="15995" y="1045741"/>
        <a:ext cx="1737420" cy="508371"/>
      </dsp:txXfrm>
    </dsp:sp>
    <dsp:sp modelId="{76718D68-A504-49B8-BE34-DC69D644C383}">
      <dsp:nvSpPr>
        <dsp:cNvPr id="0" name=""/>
        <dsp:cNvSpPr/>
      </dsp:nvSpPr>
      <dsp:spPr>
        <a:xfrm rot="4809424">
          <a:off x="1166507" y="1997311"/>
          <a:ext cx="1454008" cy="37836"/>
        </a:xfrm>
        <a:custGeom>
          <a:avLst/>
          <a:gdLst/>
          <a:ahLst/>
          <a:cxnLst/>
          <a:rect l="0" t="0" r="0" b="0"/>
          <a:pathLst>
            <a:path>
              <a:moveTo>
                <a:pt x="0" y="18918"/>
              </a:moveTo>
              <a:lnTo>
                <a:pt x="1454008" y="18918"/>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1857161" y="1979879"/>
        <a:ext cx="72700" cy="72700"/>
      </dsp:txXfrm>
    </dsp:sp>
    <dsp:sp modelId="{34C7FBE4-2C10-4BF3-88D2-D96C9C013476}">
      <dsp:nvSpPr>
        <dsp:cNvPr id="0" name=""/>
        <dsp:cNvSpPr/>
      </dsp:nvSpPr>
      <dsp:spPr>
        <a:xfrm>
          <a:off x="2017791" y="2462531"/>
          <a:ext cx="2278062" cy="540003"/>
        </a:xfrm>
        <a:prstGeom prst="roundRect">
          <a:avLst>
            <a:gd name="adj" fmla="val 10000"/>
          </a:avLst>
        </a:prstGeom>
        <a:solidFill>
          <a:schemeClr val="accent5">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Container</a:t>
          </a:r>
        </a:p>
      </dsp:txBody>
      <dsp:txXfrm>
        <a:off x="2033607" y="2478347"/>
        <a:ext cx="2246430" cy="508371"/>
      </dsp:txXfrm>
    </dsp:sp>
    <dsp:sp modelId="{95B403F3-1516-4951-B5A4-B8BA6F7AF442}">
      <dsp:nvSpPr>
        <dsp:cNvPr id="0" name=""/>
        <dsp:cNvSpPr/>
      </dsp:nvSpPr>
      <dsp:spPr>
        <a:xfrm rot="18225786">
          <a:off x="3991429" y="2143919"/>
          <a:ext cx="1370542" cy="37836"/>
        </a:xfrm>
        <a:custGeom>
          <a:avLst/>
          <a:gdLst/>
          <a:ahLst/>
          <a:cxnLst/>
          <a:rect l="0" t="0" r="0" b="0"/>
          <a:pathLst>
            <a:path>
              <a:moveTo>
                <a:pt x="0" y="18918"/>
              </a:moveTo>
              <a:lnTo>
                <a:pt x="1370542"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4642436" y="2128574"/>
        <a:ext cx="68527" cy="68527"/>
      </dsp:txXfrm>
    </dsp:sp>
    <dsp:sp modelId="{0A2FB143-2A96-4FD1-9EC6-EBB728C66170}">
      <dsp:nvSpPr>
        <dsp:cNvPr id="0" name=""/>
        <dsp:cNvSpPr/>
      </dsp:nvSpPr>
      <dsp:spPr>
        <a:xfrm>
          <a:off x="5057546" y="1323140"/>
          <a:ext cx="2070986" cy="540003"/>
        </a:xfrm>
        <a:prstGeom prst="roundRect">
          <a:avLst>
            <a:gd name="adj" fmla="val 10000"/>
          </a:avLst>
        </a:prstGeom>
        <a:solidFill>
          <a:srgbClr val="92D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Device ID 1</a:t>
          </a:r>
        </a:p>
      </dsp:txBody>
      <dsp:txXfrm>
        <a:off x="5073362" y="1338956"/>
        <a:ext cx="2039354" cy="508371"/>
      </dsp:txXfrm>
    </dsp:sp>
    <dsp:sp modelId="{762C2E9E-541D-41F2-BDAB-3DC1E0883BC0}">
      <dsp:nvSpPr>
        <dsp:cNvPr id="0" name=""/>
        <dsp:cNvSpPr/>
      </dsp:nvSpPr>
      <dsp:spPr>
        <a:xfrm rot="20552206">
          <a:off x="4277452" y="2593802"/>
          <a:ext cx="798495" cy="37836"/>
        </a:xfrm>
        <a:custGeom>
          <a:avLst/>
          <a:gdLst/>
          <a:ahLst/>
          <a:cxnLst/>
          <a:rect l="0" t="0" r="0" b="0"/>
          <a:pathLst>
            <a:path>
              <a:moveTo>
                <a:pt x="0" y="18918"/>
              </a:moveTo>
              <a:lnTo>
                <a:pt x="798495"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4656737" y="2592758"/>
        <a:ext cx="39924" cy="39924"/>
      </dsp:txXfrm>
    </dsp:sp>
    <dsp:sp modelId="{A5EB56C2-DD71-432F-8787-98EBF23DFA6D}">
      <dsp:nvSpPr>
        <dsp:cNvPr id="0" name=""/>
        <dsp:cNvSpPr/>
      </dsp:nvSpPr>
      <dsp:spPr>
        <a:xfrm>
          <a:off x="5057546" y="2222907"/>
          <a:ext cx="2070986" cy="540003"/>
        </a:xfrm>
        <a:prstGeom prst="roundRect">
          <a:avLst>
            <a:gd name="adj" fmla="val 10000"/>
          </a:avLst>
        </a:prstGeom>
        <a:solidFill>
          <a:srgbClr val="92D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Device ID 2</a:t>
          </a:r>
        </a:p>
      </dsp:txBody>
      <dsp:txXfrm>
        <a:off x="5073362" y="2238723"/>
        <a:ext cx="2039354" cy="508371"/>
      </dsp:txXfrm>
    </dsp:sp>
    <dsp:sp modelId="{8EACFE31-7E37-45E6-A9D7-3D819783BA98}">
      <dsp:nvSpPr>
        <dsp:cNvPr id="0" name=""/>
        <dsp:cNvSpPr/>
      </dsp:nvSpPr>
      <dsp:spPr>
        <a:xfrm rot="2251158">
          <a:off x="4196529" y="3006052"/>
          <a:ext cx="960341" cy="37836"/>
        </a:xfrm>
        <a:custGeom>
          <a:avLst/>
          <a:gdLst/>
          <a:ahLst/>
          <a:cxnLst/>
          <a:rect l="0" t="0" r="0" b="0"/>
          <a:pathLst>
            <a:path>
              <a:moveTo>
                <a:pt x="0" y="18918"/>
              </a:moveTo>
              <a:lnTo>
                <a:pt x="960341"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4652691" y="3000961"/>
        <a:ext cx="48017" cy="48017"/>
      </dsp:txXfrm>
    </dsp:sp>
    <dsp:sp modelId="{36B8186D-D02C-4447-BD03-EA8FD5D649B8}">
      <dsp:nvSpPr>
        <dsp:cNvPr id="0" name=""/>
        <dsp:cNvSpPr/>
      </dsp:nvSpPr>
      <dsp:spPr>
        <a:xfrm>
          <a:off x="5057546" y="3047406"/>
          <a:ext cx="2070986" cy="540003"/>
        </a:xfrm>
        <a:prstGeom prst="roundRect">
          <a:avLst>
            <a:gd name="adj" fmla="val 10000"/>
          </a:avLst>
        </a:prstGeom>
        <a:solidFill>
          <a:srgbClr val="92D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Device ID 3</a:t>
          </a:r>
        </a:p>
      </dsp:txBody>
      <dsp:txXfrm>
        <a:off x="5073362" y="3063222"/>
        <a:ext cx="2039354" cy="508371"/>
      </dsp:txXfrm>
    </dsp:sp>
    <dsp:sp modelId="{E94B2FCF-757A-4017-884F-A959CAA160D0}">
      <dsp:nvSpPr>
        <dsp:cNvPr id="0" name=""/>
        <dsp:cNvSpPr/>
      </dsp:nvSpPr>
      <dsp:spPr>
        <a:xfrm rot="18474909">
          <a:off x="6707254" y="2436359"/>
          <a:ext cx="2185590" cy="37836"/>
        </a:xfrm>
        <a:custGeom>
          <a:avLst/>
          <a:gdLst/>
          <a:ahLst/>
          <a:cxnLst/>
          <a:rect l="0" t="0" r="0" b="0"/>
          <a:pathLst>
            <a:path>
              <a:moveTo>
                <a:pt x="0" y="18918"/>
              </a:moveTo>
              <a:lnTo>
                <a:pt x="2185590"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altLang="zh-TW" sz="700" kern="1200"/>
        </a:p>
      </dsp:txBody>
      <dsp:txXfrm>
        <a:off x="7745409" y="2400638"/>
        <a:ext cx="109279" cy="109279"/>
      </dsp:txXfrm>
    </dsp:sp>
    <dsp:sp modelId="{3145A9B3-180D-47EA-B672-0E89D7858B84}">
      <dsp:nvSpPr>
        <dsp:cNvPr id="0" name=""/>
        <dsp:cNvSpPr/>
      </dsp:nvSpPr>
      <dsp:spPr>
        <a:xfrm>
          <a:off x="8471565" y="1323146"/>
          <a:ext cx="2278062" cy="540003"/>
        </a:xfrm>
        <a:prstGeom prst="roundRect">
          <a:avLst>
            <a:gd name="adj" fmla="val 10000"/>
          </a:avLst>
        </a:prstGeom>
        <a:solidFill>
          <a:schemeClr val="accent6">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001.png</a:t>
          </a:r>
        </a:p>
      </dsp:txBody>
      <dsp:txXfrm>
        <a:off x="8487381" y="1338962"/>
        <a:ext cx="2246430" cy="508371"/>
      </dsp:txXfrm>
    </dsp:sp>
    <dsp:sp modelId="{A5B2FBA9-B564-4071-8370-2E3AB2D4527E}">
      <dsp:nvSpPr>
        <dsp:cNvPr id="0" name=""/>
        <dsp:cNvSpPr/>
      </dsp:nvSpPr>
      <dsp:spPr>
        <a:xfrm rot="19705062">
          <a:off x="7011782" y="2885656"/>
          <a:ext cx="1576534" cy="37836"/>
        </a:xfrm>
        <a:custGeom>
          <a:avLst/>
          <a:gdLst/>
          <a:ahLst/>
          <a:cxnLst/>
          <a:rect l="0" t="0" r="0" b="0"/>
          <a:pathLst>
            <a:path>
              <a:moveTo>
                <a:pt x="0" y="18918"/>
              </a:moveTo>
              <a:lnTo>
                <a:pt x="1576534"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7760636" y="2865161"/>
        <a:ext cx="78826" cy="78826"/>
      </dsp:txXfrm>
    </dsp:sp>
    <dsp:sp modelId="{A94A13D7-E067-4169-8A6D-CBA3A3A69711}">
      <dsp:nvSpPr>
        <dsp:cNvPr id="0" name=""/>
        <dsp:cNvSpPr/>
      </dsp:nvSpPr>
      <dsp:spPr>
        <a:xfrm>
          <a:off x="8471565" y="2221739"/>
          <a:ext cx="2278062" cy="540003"/>
        </a:xfrm>
        <a:prstGeom prst="roundRect">
          <a:avLst>
            <a:gd name="adj" fmla="val 10000"/>
          </a:avLst>
        </a:prstGeom>
        <a:solidFill>
          <a:schemeClr val="accent6">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002.png</a:t>
          </a:r>
        </a:p>
      </dsp:txBody>
      <dsp:txXfrm>
        <a:off x="8487381" y="2237555"/>
        <a:ext cx="2246430" cy="508371"/>
      </dsp:txXfrm>
    </dsp:sp>
    <dsp:sp modelId="{0F7B6AB8-1797-4926-BF99-7BF081700696}">
      <dsp:nvSpPr>
        <dsp:cNvPr id="0" name=""/>
        <dsp:cNvSpPr/>
      </dsp:nvSpPr>
      <dsp:spPr>
        <a:xfrm rot="21574591">
          <a:off x="7128515" y="3293526"/>
          <a:ext cx="1343068" cy="37836"/>
        </a:xfrm>
        <a:custGeom>
          <a:avLst/>
          <a:gdLst/>
          <a:ahLst/>
          <a:cxnLst/>
          <a:rect l="0" t="0" r="0" b="0"/>
          <a:pathLst>
            <a:path>
              <a:moveTo>
                <a:pt x="0" y="18918"/>
              </a:moveTo>
              <a:lnTo>
                <a:pt x="1343068"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7766472" y="3278868"/>
        <a:ext cx="67153" cy="67153"/>
      </dsp:txXfrm>
    </dsp:sp>
    <dsp:sp modelId="{A8072BA9-1A85-43BD-B54D-81DF6F3D5F12}">
      <dsp:nvSpPr>
        <dsp:cNvPr id="0" name=""/>
        <dsp:cNvSpPr/>
      </dsp:nvSpPr>
      <dsp:spPr>
        <a:xfrm>
          <a:off x="8471565" y="3037479"/>
          <a:ext cx="2278062" cy="540003"/>
        </a:xfrm>
        <a:prstGeom prst="roundRect">
          <a:avLst>
            <a:gd name="adj" fmla="val 10000"/>
          </a:avLst>
        </a:prstGeom>
        <a:solidFill>
          <a:schemeClr val="accent6">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101.mov</a:t>
          </a:r>
        </a:p>
      </dsp:txBody>
      <dsp:txXfrm>
        <a:off x="8487381" y="3053295"/>
        <a:ext cx="2246430" cy="508371"/>
      </dsp:txXfrm>
    </dsp:sp>
    <dsp:sp modelId="{BFFB38C2-FC85-4B89-BDE0-402C94E6518D}">
      <dsp:nvSpPr>
        <dsp:cNvPr id="0" name=""/>
        <dsp:cNvSpPr/>
      </dsp:nvSpPr>
      <dsp:spPr>
        <a:xfrm rot="1936998">
          <a:off x="7005748" y="3722730"/>
          <a:ext cx="1588601" cy="37836"/>
        </a:xfrm>
        <a:custGeom>
          <a:avLst/>
          <a:gdLst/>
          <a:ahLst/>
          <a:cxnLst/>
          <a:rect l="0" t="0" r="0" b="0"/>
          <a:pathLst>
            <a:path>
              <a:moveTo>
                <a:pt x="0" y="18918"/>
              </a:moveTo>
              <a:lnTo>
                <a:pt x="1588601"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7760334" y="3701933"/>
        <a:ext cx="79430" cy="79430"/>
      </dsp:txXfrm>
    </dsp:sp>
    <dsp:sp modelId="{11693C93-3E23-4A4C-99F2-A7EE2FC2855E}">
      <dsp:nvSpPr>
        <dsp:cNvPr id="0" name=""/>
        <dsp:cNvSpPr/>
      </dsp:nvSpPr>
      <dsp:spPr>
        <a:xfrm>
          <a:off x="8471565" y="3895888"/>
          <a:ext cx="2278062" cy="540003"/>
        </a:xfrm>
        <a:prstGeom prst="roundRect">
          <a:avLst>
            <a:gd name="adj" fmla="val 10000"/>
          </a:avLst>
        </a:prstGeom>
        <a:solidFill>
          <a:schemeClr val="accent6">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t>…</a:t>
          </a:r>
        </a:p>
      </dsp:txBody>
      <dsp:txXfrm>
        <a:off x="8487381" y="3911704"/>
        <a:ext cx="2246430" cy="508371"/>
      </dsp:txXfrm>
    </dsp:sp>
    <dsp:sp modelId="{26F9509B-8B73-473D-A161-4705D2E811E4}">
      <dsp:nvSpPr>
        <dsp:cNvPr id="0" name=""/>
        <dsp:cNvSpPr/>
      </dsp:nvSpPr>
      <dsp:spPr>
        <a:xfrm rot="3732676">
          <a:off x="3859805" y="3436298"/>
          <a:ext cx="1633788" cy="37836"/>
        </a:xfrm>
        <a:custGeom>
          <a:avLst/>
          <a:gdLst/>
          <a:ahLst/>
          <a:cxnLst/>
          <a:rect l="0" t="0" r="0" b="0"/>
          <a:pathLst>
            <a:path>
              <a:moveTo>
                <a:pt x="0" y="18918"/>
              </a:moveTo>
              <a:lnTo>
                <a:pt x="1633788" y="18918"/>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altLang="zh-TW" sz="500" kern="1200"/>
        </a:p>
      </dsp:txBody>
      <dsp:txXfrm>
        <a:off x="4635855" y="3414372"/>
        <a:ext cx="81689" cy="81689"/>
      </dsp:txXfrm>
    </dsp:sp>
    <dsp:sp modelId="{AB327727-74D4-4270-9C71-02BA4919B846}">
      <dsp:nvSpPr>
        <dsp:cNvPr id="0" name=""/>
        <dsp:cNvSpPr/>
      </dsp:nvSpPr>
      <dsp:spPr>
        <a:xfrm>
          <a:off x="5057546" y="3907899"/>
          <a:ext cx="2070986" cy="540003"/>
        </a:xfrm>
        <a:prstGeom prst="roundRect">
          <a:avLst>
            <a:gd name="adj" fmla="val 10000"/>
          </a:avLst>
        </a:prstGeom>
        <a:solidFill>
          <a:srgbClr val="92D05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TW" sz="1800" kern="1200" dirty="0">
              <a:solidFill>
                <a:srgbClr val="FFFFFF"/>
              </a:solidFill>
              <a:latin typeface="Segoe UI"/>
              <a:ea typeface="+mn-ea"/>
              <a:cs typeface="+mn-cs"/>
            </a:rPr>
            <a:t>…</a:t>
          </a:r>
        </a:p>
      </dsp:txBody>
      <dsp:txXfrm>
        <a:off x="5073362" y="3923715"/>
        <a:ext cx="2039354" cy="50837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1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54118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1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01379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0447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1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10217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3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0D77EC-7210-4A9C-B813-11969CCBFA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96485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351610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a:t>
            </a:fld>
            <a:endParaRPr lang="en-US"/>
          </a:p>
        </p:txBody>
      </p:sp>
    </p:spTree>
    <p:extLst>
      <p:ext uri="{BB962C8B-B14F-4D97-AF65-F5344CB8AC3E}">
        <p14:creationId xmlns:p14="http://schemas.microsoft.com/office/powerpoint/2010/main" val="1874329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1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15315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1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03345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2104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2263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1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83770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25863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13/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68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20980601"/>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08789823"/>
      </p:ext>
    </p:extLst>
  </p:cSld>
  <p:clrMapOvr>
    <a:masterClrMapping/>
  </p:clrMapOvr>
  <p:transition spd="slow"/>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969655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20755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90317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949613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708119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48264236"/>
      </p:ext>
    </p:extLst>
  </p:cSld>
  <p:clrMapOvr>
    <a:masterClrMapping/>
  </p:clrMapOvr>
  <p:transition spd="slow"/>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0336610"/>
      </p:ext>
    </p:extLst>
  </p:cSld>
  <p:clrMapOvr>
    <a:masterClrMapping/>
  </p:clrMapOvr>
  <p:transition spd="slow"/>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8615544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436362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7973223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069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386162422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2510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5340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31888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08477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713512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793167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6862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4173"/>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73"/>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57"/>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89877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9745633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200435521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312456704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156469186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339404817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823102985"/>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9540111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29302207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25743267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2043383205"/>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98182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7006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85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749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9444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127758"/>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4269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932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2759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916893968"/>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72253733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zh-TW"/>
              <a:t>Click to edit Master title style</a:t>
            </a:r>
            <a:endParaRPr lang="en-US" dirty="0"/>
          </a:p>
        </p:txBody>
      </p:sp>
    </p:spTree>
    <p:extLst>
      <p:ext uri="{BB962C8B-B14F-4D97-AF65-F5344CB8AC3E}">
        <p14:creationId xmlns:p14="http://schemas.microsoft.com/office/powerpoint/2010/main" val="1822323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68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13/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image" Target="../media/image52.png"/><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image" Target="../media/image2.png"/><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theme" Target="../theme/theme14.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98"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63"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4711116"/>
      </p:ext>
    </p:extLst>
  </p:cSld>
  <p:clrMap bg1="dk1" tx1="lt1" bg2="dk2" tx2="lt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ltLang="zh-TW"/>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64900299"/>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 id="214748403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93"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32"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22"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iot-hub/iot-hub-devguide-messages-c2d" TargetMode="External"/><Relationship Id="rId2" Type="http://schemas.openxmlformats.org/officeDocument/2006/relationships/notesSlide" Target="../notesSlides/notesSlide10.xml"/><Relationship Id="rId1" Type="http://schemas.openxmlformats.org/officeDocument/2006/relationships/slideLayout" Target="../slideLayouts/slideLayout25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2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1.xml"/></Relationships>
</file>

<file path=ppt/slides/_rels/slide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2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56.xml"/><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br>
              <a:rPr lang="en-US" altLang="zh-TW" sz="5400" dirty="0"/>
            </a:br>
            <a:r>
              <a:rPr lang="en-US" altLang="zh-TW" sz="5400" dirty="0"/>
              <a:t>Device SDK</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Walker Lin</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altLang="zh-TW" sz="4705" b="0" i="0" u="none" strike="noStrike" kern="1200" cap="none" spc="-100" normalizeH="0" baseline="0" noProof="0" dirty="0">
                <a:ln w="3175">
                  <a:noFill/>
                </a:ln>
                <a:solidFill>
                  <a:srgbClr val="FFFFFF"/>
                </a:solidFill>
                <a:effectLst/>
                <a:uLnTx/>
                <a:uFillTx/>
                <a:latin typeface="+mj-lt"/>
                <a:ea typeface="+mn-ea"/>
                <a:cs typeface="Segoe UI" pitchFamily="34" charset="0"/>
              </a:rPr>
              <a:t>2. Receive the Cloud-to-Device</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 messages</a:t>
            </a:r>
          </a:p>
        </p:txBody>
      </p:sp>
      <p:sp>
        <p:nvSpPr>
          <p:cNvPr id="2" name="Rectangle: Rounded Corners 1"/>
          <p:cNvSpPr/>
          <p:nvPr/>
        </p:nvSpPr>
        <p:spPr bwMode="auto">
          <a:xfrm>
            <a:off x="9689374" y="1892403"/>
            <a:ext cx="2438400" cy="4891574"/>
          </a:xfrm>
          <a:prstGeom prst="roundRect">
            <a:avLst/>
          </a:prstGeom>
          <a:solidFill>
            <a:srgbClr val="BAD80A"/>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9946324" y="1563545"/>
            <a:ext cx="1097281" cy="336278"/>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Azure</a:t>
            </a:r>
          </a:p>
        </p:txBody>
      </p:sp>
      <p:sp>
        <p:nvSpPr>
          <p:cNvPr id="49" name="Rectangle: Rounded Corners 48"/>
          <p:cNvSpPr/>
          <p:nvPr/>
        </p:nvSpPr>
        <p:spPr bwMode="auto">
          <a:xfrm>
            <a:off x="5733506" y="1899823"/>
            <a:ext cx="3495686" cy="4891574"/>
          </a:xfrm>
          <a:prstGeom prst="round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TextBox 52"/>
          <p:cNvSpPr txBox="1"/>
          <p:nvPr/>
        </p:nvSpPr>
        <p:spPr>
          <a:xfrm>
            <a:off x="6457005" y="1575095"/>
            <a:ext cx="1756621" cy="331899"/>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IoT Device</a:t>
            </a:r>
          </a:p>
        </p:txBody>
      </p:sp>
      <p:sp>
        <p:nvSpPr>
          <p:cNvPr id="29" name="Rectangle: Rounded Corners 28"/>
          <p:cNvSpPr/>
          <p:nvPr/>
        </p:nvSpPr>
        <p:spPr bwMode="auto">
          <a:xfrm>
            <a:off x="9974899" y="3657600"/>
            <a:ext cx="1877473" cy="2828045"/>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IoT Hub Alias</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32" name="Rectangle: Rounded Corners 31"/>
          <p:cNvSpPr/>
          <p:nvPr/>
        </p:nvSpPr>
        <p:spPr bwMode="auto">
          <a:xfrm>
            <a:off x="5983829" y="3864797"/>
            <a:ext cx="3017296" cy="2752430"/>
          </a:xfrm>
          <a:prstGeom prst="round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Node.js </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evice SDK</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Rounded Corners 29"/>
          <p:cNvSpPr/>
          <p:nvPr/>
        </p:nvSpPr>
        <p:spPr bwMode="auto">
          <a:xfrm>
            <a:off x="6209599" y="2625946"/>
            <a:ext cx="2528001" cy="750261"/>
          </a:xfrm>
          <a:prstGeom prst="round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ceive Event</a:t>
            </a:r>
          </a:p>
        </p:txBody>
      </p:sp>
      <p:cxnSp>
        <p:nvCxnSpPr>
          <p:cNvPr id="37" name="Straight Arrow Connector 36"/>
          <p:cNvCxnSpPr/>
          <p:nvPr/>
        </p:nvCxnSpPr>
        <p:spPr>
          <a:xfrm flipV="1">
            <a:off x="7398624" y="3376208"/>
            <a:ext cx="0" cy="1348006"/>
          </a:xfrm>
          <a:prstGeom prst="straightConnector1">
            <a:avLst/>
          </a:prstGeom>
          <a:ln w="38100"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Arrow Connector 66"/>
          <p:cNvCxnSpPr>
            <a:stCxn id="45" idx="3"/>
          </p:cNvCxnSpPr>
          <p:nvPr/>
        </p:nvCxnSpPr>
        <p:spPr>
          <a:xfrm flipV="1">
            <a:off x="8539434" y="5272088"/>
            <a:ext cx="1406890" cy="7401"/>
          </a:xfrm>
          <a:prstGeom prst="straightConnector1">
            <a:avLst/>
          </a:prstGeom>
          <a:ln w="38100" cap="flat" cmpd="sng" algn="ctr">
            <a:solidFill>
              <a:schemeClr val="bg2">
                <a:lumMod val="75000"/>
                <a:lumOff val="25000"/>
              </a:schemeClr>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80" name="TextBox 79"/>
          <p:cNvSpPr txBox="1"/>
          <p:nvPr/>
        </p:nvSpPr>
        <p:spPr>
          <a:xfrm>
            <a:off x="374587" y="1584771"/>
            <a:ext cx="5464266" cy="1015663"/>
          </a:xfrm>
          <a:prstGeom prst="rect">
            <a:avLst/>
          </a:prstGeom>
          <a:noFill/>
        </p:spPr>
        <p:txBody>
          <a:bodyPr wrap="square">
            <a:spAutoFit/>
          </a:bodyPr>
          <a:lstStyle/>
          <a:p>
            <a:pPr marL="342900" lvl="0" indent="-342900" defTabSz="914367">
              <a:buFont typeface="+mj-lt"/>
              <a:buAutoNum type="arabicPeriod"/>
              <a:defRPr/>
            </a:pPr>
            <a:r>
              <a:rPr lang="en-US" sz="2000" kern="0" dirty="0">
                <a:solidFill>
                  <a:srgbClr val="969696"/>
                </a:solidFill>
              </a:rPr>
              <a:t>Listen the C2D messages from IoT Hub</a:t>
            </a:r>
          </a:p>
          <a:p>
            <a:pPr marL="800100" lvl="1" indent="-342900" defTabSz="914367">
              <a:buFont typeface="Arial" panose="020B0604020202020204" pitchFamily="34" charset="0"/>
              <a:buChar char="•"/>
              <a:defRPr/>
            </a:pPr>
            <a:r>
              <a:rPr lang="en-US" sz="2000" kern="0" dirty="0">
                <a:solidFill>
                  <a:srgbClr val="969696"/>
                </a:solidFill>
              </a:rPr>
              <a:t>Use </a:t>
            </a:r>
            <a:r>
              <a:rPr lang="en-US" sz="2000" kern="0" dirty="0" err="1">
                <a:solidFill>
                  <a:srgbClr val="969696"/>
                </a:solidFill>
              </a:rPr>
              <a:t>ReceiveAsync</a:t>
            </a:r>
            <a:r>
              <a:rPr lang="en-US" sz="2000" kern="0" dirty="0">
                <a:solidFill>
                  <a:srgbClr val="969696"/>
                </a:solidFill>
              </a:rPr>
              <a:t> method of Azure IoT Device SDK</a:t>
            </a:r>
            <a:endParaRPr kumimoji="0" lang="en-US" sz="2000" b="0" i="0" u="none" strike="noStrike" kern="0" cap="none" spc="0" normalizeH="0" baseline="0" noProof="0" dirty="0">
              <a:ln>
                <a:noFill/>
              </a:ln>
              <a:solidFill>
                <a:srgbClr val="969696"/>
              </a:solidFill>
              <a:effectLst/>
              <a:uLnTx/>
              <a:uFillTx/>
            </a:endParaRPr>
          </a:p>
        </p:txBody>
      </p:sp>
      <p:sp>
        <p:nvSpPr>
          <p:cNvPr id="83" name="TextBox 82"/>
          <p:cNvSpPr txBox="1"/>
          <p:nvPr/>
        </p:nvSpPr>
        <p:spPr>
          <a:xfrm>
            <a:off x="374587" y="2736283"/>
            <a:ext cx="5447191" cy="707886"/>
          </a:xfrm>
          <a:prstGeom prst="rect">
            <a:avLst/>
          </a:prstGeom>
          <a:noFill/>
        </p:spPr>
        <p:txBody>
          <a:bodyPr wrap="square">
            <a:spAutoFit/>
          </a:bodyPr>
          <a:lstStyle/>
          <a:p>
            <a:pPr marL="342900" lvl="0" indent="-342900" defTabSz="914367">
              <a:buFont typeface="+mj-lt"/>
              <a:buAutoNum type="arabicPeriod" startAt="2"/>
              <a:defRPr/>
            </a:pPr>
            <a:r>
              <a:rPr lang="en-US" sz="2000" kern="0" dirty="0">
                <a:solidFill>
                  <a:srgbClr val="969696"/>
                </a:solidFill>
              </a:rPr>
              <a:t>Notify the application by </a:t>
            </a:r>
            <a:r>
              <a:rPr lang="en-US" sz="2000" kern="0" dirty="0" err="1">
                <a:solidFill>
                  <a:srgbClr val="969696"/>
                </a:solidFill>
              </a:rPr>
              <a:t>ReceiveAsync</a:t>
            </a:r>
            <a:r>
              <a:rPr lang="en-US" sz="2000" kern="0" dirty="0">
                <a:solidFill>
                  <a:srgbClr val="969696"/>
                </a:solidFill>
              </a:rPr>
              <a:t> method</a:t>
            </a:r>
          </a:p>
        </p:txBody>
      </p:sp>
      <p:sp>
        <p:nvSpPr>
          <p:cNvPr id="34" name="Rectangle: Rounded Corners 33"/>
          <p:cNvSpPr/>
          <p:nvPr/>
        </p:nvSpPr>
        <p:spPr bwMode="auto">
          <a:xfrm>
            <a:off x="10246136" y="4191808"/>
            <a:ext cx="1434264"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Primary)</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5" name="Rectangle: Rounded Corners 34"/>
          <p:cNvSpPr/>
          <p:nvPr/>
        </p:nvSpPr>
        <p:spPr bwMode="auto">
          <a:xfrm>
            <a:off x="10246136" y="5386555"/>
            <a:ext cx="1434265"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Secondary)</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TextBox 39"/>
          <p:cNvSpPr txBox="1"/>
          <p:nvPr/>
        </p:nvSpPr>
        <p:spPr>
          <a:xfrm>
            <a:off x="7610116" y="3490791"/>
            <a:ext cx="1539328" cy="333617"/>
          </a:xfrm>
          <a:prstGeom prst="rect">
            <a:avLst/>
          </a:prstGeom>
          <a:noFill/>
        </p:spPr>
        <p:txBody>
          <a:bodyPr wrap="square">
            <a:spAutoFit/>
          </a:bodyPr>
          <a:lstStyle/>
          <a:p>
            <a:pPr lvl="0" defTabSz="914367">
              <a:spcAft>
                <a:spcPts val="2353"/>
              </a:spcAft>
              <a:defRPr/>
            </a:pPr>
            <a:r>
              <a:rPr lang="en-US" sz="1568" b="1" kern="0" dirty="0" err="1">
                <a:latin typeface="+mj-lt"/>
              </a:rPr>
              <a:t>ReceiveAsync</a:t>
            </a:r>
            <a:r>
              <a:rPr lang="en-US" sz="1568" b="1" kern="0" dirty="0">
                <a:latin typeface="+mj-lt"/>
              </a:rPr>
              <a:t>()</a:t>
            </a:r>
            <a:endParaRPr kumimoji="0" lang="en-US" sz="1568" b="1" i="0" u="none" strike="noStrike" kern="0" cap="none" spc="0" normalizeH="0" baseline="0" noProof="0" dirty="0">
              <a:ln>
                <a:noFill/>
              </a:ln>
              <a:effectLst/>
              <a:uLnTx/>
              <a:uFillTx/>
              <a:latin typeface="+mj-lt"/>
            </a:endParaRPr>
          </a:p>
        </p:txBody>
      </p:sp>
      <p:sp>
        <p:nvSpPr>
          <p:cNvPr id="45" name="Rectangle: Rounded Corners 44"/>
          <p:cNvSpPr/>
          <p:nvPr/>
        </p:nvSpPr>
        <p:spPr bwMode="auto">
          <a:xfrm>
            <a:off x="6464669" y="4724214"/>
            <a:ext cx="2074765" cy="1110549"/>
          </a:xfrm>
          <a:prstGeom prst="round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gradFill>
                  <a:gsLst>
                    <a:gs pos="0">
                      <a:srgbClr val="FFFFFF"/>
                    </a:gs>
                    <a:gs pos="100000">
                      <a:srgbClr val="FFFFFF"/>
                    </a:gs>
                  </a:gsLst>
                  <a:lin ang="5400000" scaled="0"/>
                </a:gradFill>
                <a:ea typeface="Segoe UI" pitchFamily="34" charset="0"/>
                <a:cs typeface="Segoe UI" pitchFamily="34" charset="0"/>
              </a:rPr>
              <a:t>Azure </a:t>
            </a: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Device SDK</a:t>
            </a:r>
          </a:p>
        </p:txBody>
      </p:sp>
      <p:sp>
        <p:nvSpPr>
          <p:cNvPr id="47" name="TextBox 46"/>
          <p:cNvSpPr txBox="1"/>
          <p:nvPr/>
        </p:nvSpPr>
        <p:spPr>
          <a:xfrm>
            <a:off x="374587" y="3580018"/>
            <a:ext cx="5462002" cy="1015663"/>
          </a:xfrm>
          <a:prstGeom prst="rect">
            <a:avLst/>
          </a:prstGeom>
          <a:noFill/>
        </p:spPr>
        <p:txBody>
          <a:bodyPr wrap="square">
            <a:spAutoFit/>
          </a:bodyPr>
          <a:lstStyle/>
          <a:p>
            <a:pPr marL="457200" marR="0" lvl="0" indent="-457200" defTabSz="914367" eaLnBrk="1" fontAlgn="auto" latinLnBrk="0" hangingPunct="1">
              <a:lnSpc>
                <a:spcPct val="100000"/>
              </a:lnSpc>
              <a:spcBef>
                <a:spcPts val="0"/>
              </a:spcBef>
              <a:spcAft>
                <a:spcPts val="0"/>
              </a:spcAft>
              <a:buClrTx/>
              <a:buSzTx/>
              <a:buFont typeface="+mj-lt"/>
              <a:buAutoNum type="arabicPeriod" startAt="3"/>
              <a:tabLst/>
              <a:defRPr/>
            </a:pPr>
            <a:r>
              <a:rPr lang="en-US" sz="2000" kern="0" dirty="0">
                <a:solidFill>
                  <a:srgbClr val="969696"/>
                </a:solidFill>
              </a:rPr>
              <a:t>The application must set the state to completed by </a:t>
            </a:r>
            <a:r>
              <a:rPr lang="en-US" sz="2000" kern="0" dirty="0" err="1">
                <a:solidFill>
                  <a:srgbClr val="969696"/>
                </a:solidFill>
              </a:rPr>
              <a:t>CompleteAsync</a:t>
            </a:r>
            <a:r>
              <a:rPr lang="en-US" sz="2000" kern="0" dirty="0">
                <a:solidFill>
                  <a:srgbClr val="969696"/>
                </a:solidFill>
              </a:rPr>
              <a:t> method</a:t>
            </a:r>
          </a:p>
          <a:p>
            <a:pPr marL="914400" lvl="1" indent="-457200" defTabSz="914367">
              <a:buFont typeface="Arial" panose="020B0604020202020204" pitchFamily="34" charset="0"/>
              <a:buChar char="•"/>
              <a:defRPr/>
            </a:pPr>
            <a:r>
              <a:rPr lang="en-US" sz="2000" kern="0" dirty="0">
                <a:solidFill>
                  <a:srgbClr val="969696"/>
                </a:solidFill>
              </a:rPr>
              <a:t>Update the message state in IoT Hub</a:t>
            </a:r>
            <a:endParaRPr kumimoji="0" lang="en-US" sz="2000" b="0" i="0" u="none" strike="noStrike" kern="0" cap="none" spc="0" normalizeH="0" baseline="0" noProof="0" dirty="0">
              <a:ln>
                <a:noFill/>
              </a:ln>
              <a:solidFill>
                <a:srgbClr val="969696"/>
              </a:solidFill>
              <a:effectLst/>
              <a:uLnTx/>
              <a:uFillTx/>
            </a:endParaRPr>
          </a:p>
        </p:txBody>
      </p:sp>
      <p:sp>
        <p:nvSpPr>
          <p:cNvPr id="26" name="Rectangle: Rounded Corners 25"/>
          <p:cNvSpPr/>
          <p:nvPr/>
        </p:nvSpPr>
        <p:spPr bwMode="auto">
          <a:xfrm>
            <a:off x="9969837" y="2378798"/>
            <a:ext cx="1877473" cy="83996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Back-end</a:t>
            </a:r>
          </a:p>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solidFill>
                  <a:schemeClr val="bg2"/>
                </a:solidFill>
                <a:ea typeface="Segoe UI" pitchFamily="34" charset="0"/>
                <a:cs typeface="Segoe UI" pitchFamily="34" charset="0"/>
              </a:rPr>
              <a:t>Services</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cxnSp>
        <p:nvCxnSpPr>
          <p:cNvPr id="27" name="Straight Arrow Connector 26"/>
          <p:cNvCxnSpPr/>
          <p:nvPr/>
        </p:nvCxnSpPr>
        <p:spPr>
          <a:xfrm flipV="1">
            <a:off x="10246136" y="3072934"/>
            <a:ext cx="0" cy="859417"/>
          </a:xfrm>
          <a:prstGeom prst="straightConnector1">
            <a:avLst/>
          </a:prstGeom>
          <a:ln w="38100"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28" name="TextBox 27"/>
          <p:cNvSpPr txBox="1"/>
          <p:nvPr/>
        </p:nvSpPr>
        <p:spPr>
          <a:xfrm>
            <a:off x="10284598" y="3271370"/>
            <a:ext cx="1782361" cy="333617"/>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effectLst/>
                <a:uLnTx/>
                <a:uFillTx/>
                <a:latin typeface="+mj-lt"/>
              </a:rPr>
              <a:t>C2D</a:t>
            </a:r>
            <a:r>
              <a:rPr kumimoji="0" lang="en-US" sz="1568" b="1" i="0" u="none" strike="noStrike" kern="0" cap="none" spc="0" normalizeH="0" noProof="0" dirty="0">
                <a:ln>
                  <a:noFill/>
                </a:ln>
                <a:effectLst/>
                <a:uLnTx/>
                <a:uFillTx/>
                <a:latin typeface="+mj-lt"/>
              </a:rPr>
              <a:t> Message</a:t>
            </a:r>
            <a:endParaRPr kumimoji="0" lang="en-US" sz="1568" b="1" i="0" u="none" strike="noStrike" kern="0" cap="none" spc="0" normalizeH="0" baseline="0" noProof="0" dirty="0">
              <a:ln>
                <a:noFill/>
              </a:ln>
              <a:effectLst/>
              <a:uLnTx/>
              <a:uFillTx/>
              <a:latin typeface="+mj-lt"/>
            </a:endParaRPr>
          </a:p>
        </p:txBody>
      </p:sp>
      <p:cxnSp>
        <p:nvCxnSpPr>
          <p:cNvPr id="31" name="Straight Arrow Connector 30"/>
          <p:cNvCxnSpPr/>
          <p:nvPr/>
        </p:nvCxnSpPr>
        <p:spPr>
          <a:xfrm flipV="1">
            <a:off x="7610116" y="3361775"/>
            <a:ext cx="0" cy="1342375"/>
          </a:xfrm>
          <a:prstGeom prst="straightConnector1">
            <a:avLst/>
          </a:prstGeom>
          <a:ln w="38100"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6" name="TextBox 35"/>
          <p:cNvSpPr txBox="1"/>
          <p:nvPr/>
        </p:nvSpPr>
        <p:spPr>
          <a:xfrm>
            <a:off x="5785891" y="3490791"/>
            <a:ext cx="1824771" cy="333617"/>
          </a:xfrm>
          <a:prstGeom prst="rect">
            <a:avLst/>
          </a:prstGeom>
          <a:noFill/>
        </p:spPr>
        <p:txBody>
          <a:bodyPr wrap="square">
            <a:spAutoFit/>
          </a:bodyPr>
          <a:lstStyle/>
          <a:p>
            <a:pPr lvl="0" defTabSz="914367">
              <a:spcAft>
                <a:spcPts val="2353"/>
              </a:spcAft>
              <a:defRPr/>
            </a:pPr>
            <a:r>
              <a:rPr lang="en-US" sz="1568" b="1" kern="0" dirty="0" err="1">
                <a:latin typeface="+mj-lt"/>
              </a:rPr>
              <a:t>CompleteAsync</a:t>
            </a:r>
            <a:r>
              <a:rPr lang="en-US" sz="1568" b="1" kern="0" dirty="0">
                <a:latin typeface="+mj-lt"/>
              </a:rPr>
              <a:t>()</a:t>
            </a:r>
            <a:endParaRPr kumimoji="0" lang="en-US" sz="1568" b="1" i="0" u="none" strike="noStrike" kern="0" cap="none" spc="0" normalizeH="0" baseline="0" noProof="0" dirty="0">
              <a:ln>
                <a:noFill/>
              </a:ln>
              <a:effectLst/>
              <a:uLnTx/>
              <a:uFillTx/>
              <a:latin typeface="+mj-lt"/>
            </a:endParaRPr>
          </a:p>
        </p:txBody>
      </p:sp>
      <p:cxnSp>
        <p:nvCxnSpPr>
          <p:cNvPr id="39" name="Straight Arrow Connector 38"/>
          <p:cNvCxnSpPr/>
          <p:nvPr/>
        </p:nvCxnSpPr>
        <p:spPr>
          <a:xfrm>
            <a:off x="8577263" y="5510213"/>
            <a:ext cx="1369061" cy="0"/>
          </a:xfrm>
          <a:prstGeom prst="straightConnector1">
            <a:avLst/>
          </a:prstGeom>
          <a:ln w="38100" cap="flat" cmpd="sng" algn="ctr">
            <a:solidFill>
              <a:schemeClr val="bg2">
                <a:lumMod val="75000"/>
                <a:lumOff val="2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 name="TextBox 40"/>
          <p:cNvSpPr txBox="1"/>
          <p:nvPr/>
        </p:nvSpPr>
        <p:spPr>
          <a:xfrm>
            <a:off x="374587" y="4944506"/>
            <a:ext cx="5462002" cy="1815882"/>
          </a:xfrm>
          <a:prstGeom prst="rect">
            <a:avLst/>
          </a:prstGeom>
          <a:noFill/>
        </p:spPr>
        <p:txBody>
          <a:bodyPr wrap="square">
            <a:spAutoFit/>
          </a:bodyPr>
          <a:lstStyle/>
          <a:p>
            <a:pPr marL="457200" marR="0" lvl="0" indent="-457200" defTabSz="914367"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000" kern="0" noProof="0" dirty="0">
                <a:solidFill>
                  <a:srgbClr val="969696"/>
                </a:solidFill>
              </a:rPr>
              <a:t>Next phase for</a:t>
            </a:r>
          </a:p>
          <a:p>
            <a:pPr marL="457200" marR="0" lvl="0" indent="-457200" defTabSz="914367"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dirty="0">
                <a:ln>
                  <a:noFill/>
                </a:ln>
                <a:solidFill>
                  <a:srgbClr val="969696"/>
                </a:solidFill>
                <a:effectLst/>
                <a:uLnTx/>
                <a:uFillTx/>
              </a:rPr>
              <a:t>Reject</a:t>
            </a:r>
          </a:p>
          <a:p>
            <a:pPr marL="457200" marR="0" lvl="0" indent="-457200" defTabSz="914367" eaLnBrk="1" fontAlgn="auto" latinLnBrk="0" hangingPunct="1">
              <a:lnSpc>
                <a:spcPct val="100000"/>
              </a:lnSpc>
              <a:spcBef>
                <a:spcPts val="0"/>
              </a:spcBef>
              <a:spcAft>
                <a:spcPts val="0"/>
              </a:spcAft>
              <a:buClrTx/>
              <a:buSzTx/>
              <a:buFont typeface="+mj-lt"/>
              <a:buAutoNum type="arabicPeriod"/>
              <a:tabLst/>
              <a:defRPr/>
            </a:pPr>
            <a:r>
              <a:rPr lang="en-US" sz="2000" kern="0" noProof="0" dirty="0">
                <a:solidFill>
                  <a:srgbClr val="969696"/>
                </a:solidFill>
              </a:rPr>
              <a:t>Abandon</a:t>
            </a:r>
          </a:p>
          <a:p>
            <a:pPr lvl="0" defTabSz="914367">
              <a:defRPr/>
            </a:pPr>
            <a:r>
              <a:rPr lang="en-US" sz="1600" kern="0" dirty="0">
                <a:solidFill>
                  <a:srgbClr val="969696"/>
                </a:solidFill>
                <a:hlinkClick r:id="rId3"/>
              </a:rPr>
              <a:t>https://docs.microsoft.com/en-us/azure/iot-hub/iot-hub-devguide-messages-c2d</a:t>
            </a:r>
            <a:endParaRPr lang="en-US" sz="1600" kern="0" dirty="0">
              <a:solidFill>
                <a:srgbClr val="969696"/>
              </a:solidFill>
            </a:endParaRPr>
          </a:p>
          <a:p>
            <a:pPr lvl="0" defTabSz="914367">
              <a:defRPr/>
            </a:pPr>
            <a:endParaRPr kumimoji="0" lang="en-US" sz="2000" b="0" i="0" u="none" strike="noStrike" kern="0" cap="none" spc="0" normalizeH="0" baseline="0" noProof="0" dirty="0">
              <a:ln>
                <a:noFill/>
              </a:ln>
              <a:solidFill>
                <a:srgbClr val="969696"/>
              </a:solidFill>
              <a:effectLst/>
              <a:uLnTx/>
              <a:uFillTx/>
            </a:endParaRPr>
          </a:p>
        </p:txBody>
      </p:sp>
      <p:sp>
        <p:nvSpPr>
          <p:cNvPr id="44" name="TextBox 43"/>
          <p:cNvSpPr txBox="1"/>
          <p:nvPr/>
        </p:nvSpPr>
        <p:spPr>
          <a:xfrm>
            <a:off x="9183937" y="5523242"/>
            <a:ext cx="1121743" cy="333617"/>
          </a:xfrm>
          <a:prstGeom prst="rect">
            <a:avLst/>
          </a:prstGeom>
          <a:noFill/>
        </p:spPr>
        <p:txBody>
          <a:bodyPr wrap="square">
            <a:spAutoFit/>
          </a:bodyPr>
          <a:lstStyle/>
          <a:p>
            <a:pPr lvl="0" defTabSz="914367">
              <a:spcAft>
                <a:spcPts val="2353"/>
              </a:spcAft>
              <a:defRPr/>
            </a:pPr>
            <a:r>
              <a:rPr lang="en-US" sz="1568" b="1" kern="0" dirty="0">
                <a:solidFill>
                  <a:schemeClr val="bg1">
                    <a:lumMod val="50000"/>
                  </a:schemeClr>
                </a:solidFill>
                <a:latin typeface="+mj-lt"/>
              </a:rPr>
              <a:t>Completed</a:t>
            </a:r>
            <a:endParaRPr kumimoji="0" lang="en-US" sz="1568" b="1" i="0" u="none" strike="noStrike" kern="0" cap="none" spc="0" normalizeH="0" baseline="0" noProof="0" dirty="0">
              <a:ln>
                <a:noFill/>
              </a:ln>
              <a:solidFill>
                <a:schemeClr val="bg1">
                  <a:lumMod val="50000"/>
                </a:schemeClr>
              </a:solidFill>
              <a:effectLst/>
              <a:uLnTx/>
              <a:uFillTx/>
              <a:latin typeface="+mj-lt"/>
            </a:endParaRPr>
          </a:p>
        </p:txBody>
      </p:sp>
    </p:spTree>
    <p:extLst>
      <p:ext uri="{BB962C8B-B14F-4D97-AF65-F5344CB8AC3E}">
        <p14:creationId xmlns:p14="http://schemas.microsoft.com/office/powerpoint/2010/main" val="3357672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80" grpId="0"/>
      <p:bldP spid="83" grpId="0"/>
      <p:bldP spid="40" grpId="0"/>
      <p:bldP spid="45" grpId="0" animBg="1"/>
      <p:bldP spid="47" grpId="0"/>
      <p:bldP spid="28" grpId="0"/>
      <p:bldP spid="36" grpId="0"/>
      <p:bldP spid="41" grpId="0"/>
      <p:bldP spid="4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altLang="zh-TW" sz="4705" spc="-100" dirty="0">
                <a:solidFill>
                  <a:srgbClr val="FFFFFF"/>
                </a:solidFill>
              </a:rPr>
              <a:t>3</a:t>
            </a:r>
            <a:r>
              <a:rPr kumimoji="0" lang="en-US" altLang="zh-TW" sz="4705" b="0" i="0" u="none" strike="noStrike" kern="1200" cap="none" spc="-100" normalizeH="0" baseline="0" noProof="0" dirty="0">
                <a:ln w="3175">
                  <a:noFill/>
                </a:ln>
                <a:solidFill>
                  <a:srgbClr val="FFFFFF"/>
                </a:solidFill>
                <a:effectLst/>
                <a:uLnTx/>
                <a:uFillTx/>
                <a:latin typeface="+mj-lt"/>
                <a:ea typeface="+mn-ea"/>
                <a:cs typeface="Segoe UI" pitchFamily="34" charset="0"/>
              </a:rPr>
              <a:t>. File Upload</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2" name="Rectangle: Rounded Corners 1"/>
          <p:cNvSpPr/>
          <p:nvPr/>
        </p:nvSpPr>
        <p:spPr bwMode="auto">
          <a:xfrm>
            <a:off x="8315391" y="1899823"/>
            <a:ext cx="3812384" cy="4891574"/>
          </a:xfrm>
          <a:prstGeom prst="roundRect">
            <a:avLst/>
          </a:prstGeom>
          <a:solidFill>
            <a:srgbClr val="BAD80A"/>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8416398" y="1563545"/>
            <a:ext cx="3711376" cy="336278"/>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Azure</a:t>
            </a:r>
          </a:p>
        </p:txBody>
      </p:sp>
      <p:sp>
        <p:nvSpPr>
          <p:cNvPr id="49" name="Rectangle: Rounded Corners 48"/>
          <p:cNvSpPr/>
          <p:nvPr/>
        </p:nvSpPr>
        <p:spPr bwMode="auto">
          <a:xfrm>
            <a:off x="5733506" y="1899823"/>
            <a:ext cx="2198143" cy="4891574"/>
          </a:xfrm>
          <a:prstGeom prst="round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TextBox 52"/>
          <p:cNvSpPr txBox="1"/>
          <p:nvPr/>
        </p:nvSpPr>
        <p:spPr>
          <a:xfrm>
            <a:off x="5733507" y="1575095"/>
            <a:ext cx="2198142" cy="331899"/>
          </a:xfrm>
          <a:prstGeom prst="rect">
            <a:avLst/>
          </a:prstGeom>
          <a:noFill/>
        </p:spPr>
        <p:txBody>
          <a:bodyPr wrap="square">
            <a:spAutoFit/>
          </a:bodyPr>
          <a:lstStyle/>
          <a:p>
            <a:pPr marL="0" marR="0" lvl="0" indent="0" algn="ctr"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IoT Device</a:t>
            </a:r>
          </a:p>
        </p:txBody>
      </p:sp>
      <p:sp>
        <p:nvSpPr>
          <p:cNvPr id="29" name="Rectangle: Rounded Corners 28"/>
          <p:cNvSpPr/>
          <p:nvPr/>
        </p:nvSpPr>
        <p:spPr bwMode="auto">
          <a:xfrm>
            <a:off x="8487928" y="3350453"/>
            <a:ext cx="1632675" cy="2828045"/>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IoT Hub Alias</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32" name="Rectangle: Rounded Corners 31"/>
          <p:cNvSpPr/>
          <p:nvPr/>
        </p:nvSpPr>
        <p:spPr bwMode="auto">
          <a:xfrm>
            <a:off x="5944952" y="3392731"/>
            <a:ext cx="1781213" cy="2752430"/>
          </a:xfrm>
          <a:prstGeom prst="round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Node.js </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evice SDK</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Rounded Corners 29"/>
          <p:cNvSpPr/>
          <p:nvPr/>
        </p:nvSpPr>
        <p:spPr bwMode="auto">
          <a:xfrm>
            <a:off x="5948738" y="2487649"/>
            <a:ext cx="1777428" cy="519538"/>
          </a:xfrm>
          <a:prstGeom prst="round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ile Upload</a:t>
            </a:r>
          </a:p>
        </p:txBody>
      </p:sp>
      <p:cxnSp>
        <p:nvCxnSpPr>
          <p:cNvPr id="37" name="Straight Arrow Connector 36"/>
          <p:cNvCxnSpPr/>
          <p:nvPr/>
        </p:nvCxnSpPr>
        <p:spPr>
          <a:xfrm flipV="1">
            <a:off x="6206821" y="2992733"/>
            <a:ext cx="0" cy="1348006"/>
          </a:xfrm>
          <a:prstGeom prst="straightConnector1">
            <a:avLst/>
          </a:prstGeom>
          <a:ln w="38100"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Arrow Connector 66"/>
          <p:cNvCxnSpPr>
            <a:stCxn id="45" idx="3"/>
            <a:endCxn id="29" idx="1"/>
          </p:cNvCxnSpPr>
          <p:nvPr/>
        </p:nvCxnSpPr>
        <p:spPr>
          <a:xfrm>
            <a:off x="7642858" y="4763759"/>
            <a:ext cx="845070" cy="717"/>
          </a:xfrm>
          <a:prstGeom prst="straightConnector1">
            <a:avLst/>
          </a:prstGeom>
          <a:ln w="38100" cap="flat" cmpd="sng" algn="ctr">
            <a:solidFill>
              <a:schemeClr val="bg2">
                <a:lumMod val="75000"/>
                <a:lumOff val="2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0" name="TextBox 79"/>
          <p:cNvSpPr txBox="1"/>
          <p:nvPr/>
        </p:nvSpPr>
        <p:spPr>
          <a:xfrm>
            <a:off x="352016" y="1584771"/>
            <a:ext cx="5464266" cy="1323439"/>
          </a:xfrm>
          <a:prstGeom prst="rect">
            <a:avLst/>
          </a:prstGeom>
          <a:noFill/>
        </p:spPr>
        <p:txBody>
          <a:bodyPr wrap="square">
            <a:spAutoFit/>
          </a:bodyPr>
          <a:lstStyle/>
          <a:p>
            <a:pPr marL="342900" marR="0" lvl="0" indent="-342900" defTabSz="914367"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dirty="0">
                <a:ln>
                  <a:noFill/>
                </a:ln>
                <a:solidFill>
                  <a:srgbClr val="969696"/>
                </a:solidFill>
                <a:effectLst/>
                <a:uLnTx/>
                <a:uFillTx/>
              </a:rPr>
              <a:t>Config</a:t>
            </a:r>
            <a:r>
              <a:rPr kumimoji="0" lang="en-US" sz="2000" b="0" i="0" u="none" strike="noStrike" kern="0" cap="none" spc="0" normalizeH="0" noProof="0" dirty="0">
                <a:ln>
                  <a:noFill/>
                </a:ln>
                <a:solidFill>
                  <a:srgbClr val="969696"/>
                </a:solidFill>
                <a:effectLst/>
                <a:uLnTx/>
                <a:uFillTx/>
              </a:rPr>
              <a:t> the </a:t>
            </a:r>
            <a:r>
              <a:rPr lang="en-US" sz="2000" kern="0" dirty="0">
                <a:solidFill>
                  <a:srgbClr val="969696"/>
                </a:solidFill>
              </a:rPr>
              <a:t>File Upload endpoint of IoT Hub in the Azure Portal</a:t>
            </a:r>
            <a:endParaRPr kumimoji="0" lang="en-US" sz="2000" b="0" i="0" u="none" strike="noStrike" kern="0" cap="none" spc="0" normalizeH="0" baseline="0" noProof="0" dirty="0">
              <a:ln>
                <a:noFill/>
              </a:ln>
              <a:solidFill>
                <a:srgbClr val="969696"/>
              </a:solidFill>
              <a:effectLst/>
              <a:uLnTx/>
              <a:uFillTx/>
            </a:endParaRPr>
          </a:p>
          <a:p>
            <a:pPr marL="800100" marR="0" lvl="1"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969696"/>
                </a:solidFill>
                <a:effectLst/>
                <a:uLnTx/>
                <a:uFillTx/>
              </a:rPr>
              <a:t>Provide the Storage Account of Blob</a:t>
            </a:r>
          </a:p>
          <a:p>
            <a:pPr marL="800100" marR="0" lvl="1"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kern="0" dirty="0">
                <a:solidFill>
                  <a:srgbClr val="969696"/>
                </a:solidFill>
              </a:rPr>
              <a:t>Choose the Container</a:t>
            </a:r>
            <a:endParaRPr kumimoji="0" lang="en-US" sz="2000" b="0" i="0" u="none" strike="noStrike" kern="0" cap="none" spc="0" normalizeH="0" baseline="0" noProof="0" dirty="0">
              <a:ln>
                <a:noFill/>
              </a:ln>
              <a:solidFill>
                <a:srgbClr val="969696"/>
              </a:solidFill>
              <a:effectLst/>
              <a:uLnTx/>
              <a:uFillTx/>
            </a:endParaRPr>
          </a:p>
        </p:txBody>
      </p:sp>
      <p:sp>
        <p:nvSpPr>
          <p:cNvPr id="83" name="TextBox 82"/>
          <p:cNvSpPr txBox="1"/>
          <p:nvPr/>
        </p:nvSpPr>
        <p:spPr>
          <a:xfrm>
            <a:off x="352016" y="3009764"/>
            <a:ext cx="5447191" cy="1015663"/>
          </a:xfrm>
          <a:prstGeom prst="rect">
            <a:avLst/>
          </a:prstGeom>
          <a:noFill/>
        </p:spPr>
        <p:txBody>
          <a:bodyPr wrap="square">
            <a:spAutoFit/>
          </a:bodyPr>
          <a:lstStyle/>
          <a:p>
            <a:pPr marL="342900" marR="0" lvl="0" indent="-342900" defTabSz="914367"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0" cap="none" spc="0" normalizeH="0" baseline="0" noProof="0" dirty="0">
                <a:ln>
                  <a:noFill/>
                </a:ln>
                <a:solidFill>
                  <a:srgbClr val="969696"/>
                </a:solidFill>
                <a:effectLst/>
                <a:uLnTx/>
                <a:uFillTx/>
              </a:rPr>
              <a:t>Call</a:t>
            </a:r>
            <a:r>
              <a:rPr kumimoji="0" lang="en-US" sz="2000" b="0" i="0" u="none" strike="noStrike" kern="0" cap="none" spc="0" normalizeH="0" noProof="0" dirty="0">
                <a:ln>
                  <a:noFill/>
                </a:ln>
                <a:solidFill>
                  <a:srgbClr val="969696"/>
                </a:solidFill>
                <a:effectLst/>
                <a:uLnTx/>
                <a:uFillTx/>
              </a:rPr>
              <a:t> the </a:t>
            </a:r>
            <a:r>
              <a:rPr kumimoji="0" lang="en-US" sz="2000" b="0" i="0" u="none" strike="noStrike" kern="0" cap="none" spc="0" normalizeH="0" noProof="0" dirty="0" err="1">
                <a:ln>
                  <a:noFill/>
                </a:ln>
                <a:solidFill>
                  <a:srgbClr val="969696"/>
                </a:solidFill>
                <a:effectLst/>
                <a:uLnTx/>
                <a:uFillTx/>
              </a:rPr>
              <a:t>UploadFileToBlob</a:t>
            </a:r>
            <a:r>
              <a:rPr kumimoji="0" lang="en-US" sz="2000" b="0" i="0" u="none" strike="noStrike" kern="0" cap="none" spc="0" normalizeH="0" noProof="0" dirty="0">
                <a:ln>
                  <a:noFill/>
                </a:ln>
                <a:solidFill>
                  <a:srgbClr val="969696"/>
                </a:solidFill>
                <a:effectLst/>
                <a:uLnTx/>
                <a:uFillTx/>
              </a:rPr>
              <a:t> method with</a:t>
            </a:r>
          </a:p>
          <a:p>
            <a:pPr marL="800100" lvl="1" indent="-342900" defTabSz="914367">
              <a:buFont typeface="Arial" panose="020B0604020202020204" pitchFamily="34" charset="0"/>
              <a:buChar char="•"/>
              <a:defRPr/>
            </a:pPr>
            <a:r>
              <a:rPr lang="en-US" sz="2000" kern="0" noProof="0" dirty="0">
                <a:solidFill>
                  <a:srgbClr val="969696"/>
                </a:solidFill>
              </a:rPr>
              <a:t>Full file path and name</a:t>
            </a:r>
          </a:p>
          <a:p>
            <a:pPr marL="800100" lvl="1" indent="-342900" defTabSz="914367">
              <a:buFont typeface="Arial" panose="020B0604020202020204" pitchFamily="34" charset="0"/>
              <a:buChar char="•"/>
              <a:defRPr/>
            </a:pPr>
            <a:r>
              <a:rPr kumimoji="0" lang="en-US" sz="2000" b="0" i="0" u="none" strike="noStrike" kern="0" cap="none" spc="0" normalizeH="0" baseline="0" dirty="0">
                <a:ln>
                  <a:noFill/>
                </a:ln>
                <a:solidFill>
                  <a:srgbClr val="969696"/>
                </a:solidFill>
                <a:effectLst/>
                <a:uLnTx/>
                <a:uFillTx/>
              </a:rPr>
              <a:t>Blob</a:t>
            </a:r>
            <a:r>
              <a:rPr kumimoji="0" lang="en-US" sz="2000" b="0" i="0" u="none" strike="noStrike" kern="0" cap="none" spc="0" normalizeH="0" dirty="0">
                <a:ln>
                  <a:noFill/>
                </a:ln>
                <a:solidFill>
                  <a:srgbClr val="969696"/>
                </a:solidFill>
                <a:effectLst/>
                <a:uLnTx/>
                <a:uFillTx/>
              </a:rPr>
              <a:t> Name</a:t>
            </a:r>
            <a:endParaRPr kumimoji="0" lang="en-US" sz="2000" b="0" i="0" u="none" strike="noStrike" kern="0" cap="none" spc="0" normalizeH="0" baseline="0" noProof="0" dirty="0">
              <a:ln>
                <a:noFill/>
              </a:ln>
              <a:solidFill>
                <a:srgbClr val="969696"/>
              </a:solidFill>
              <a:effectLst/>
              <a:uLnTx/>
              <a:uFillTx/>
            </a:endParaRPr>
          </a:p>
        </p:txBody>
      </p:sp>
      <p:sp>
        <p:nvSpPr>
          <p:cNvPr id="34" name="Rectangle: Rounded Corners 33"/>
          <p:cNvSpPr/>
          <p:nvPr/>
        </p:nvSpPr>
        <p:spPr bwMode="auto">
          <a:xfrm>
            <a:off x="8668320" y="3884661"/>
            <a:ext cx="1303876"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Primary)</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5" name="Rectangle: Rounded Corners 34"/>
          <p:cNvSpPr/>
          <p:nvPr/>
        </p:nvSpPr>
        <p:spPr bwMode="auto">
          <a:xfrm>
            <a:off x="8668320" y="5079408"/>
            <a:ext cx="1303877"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oT Hub (Secondary)</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TextBox 39"/>
          <p:cNvSpPr txBox="1"/>
          <p:nvPr/>
        </p:nvSpPr>
        <p:spPr>
          <a:xfrm>
            <a:off x="6182948" y="3092372"/>
            <a:ext cx="1995453" cy="333617"/>
          </a:xfrm>
          <a:prstGeom prst="rect">
            <a:avLst/>
          </a:prstGeom>
          <a:noFill/>
        </p:spPr>
        <p:txBody>
          <a:bodyPr wrap="square">
            <a:spAutoFit/>
          </a:bodyPr>
          <a:lstStyle/>
          <a:p>
            <a:pPr lvl="0" defTabSz="914367">
              <a:spcAft>
                <a:spcPts val="2353"/>
              </a:spcAft>
              <a:defRPr/>
            </a:pPr>
            <a:r>
              <a:rPr lang="en-US" sz="1568" b="1" kern="0" dirty="0" err="1">
                <a:latin typeface="+mj-lt"/>
              </a:rPr>
              <a:t>UploadFileToBlob</a:t>
            </a:r>
            <a:r>
              <a:rPr lang="en-US" sz="1568" b="1" kern="0" dirty="0">
                <a:latin typeface="+mj-lt"/>
              </a:rPr>
              <a:t>()</a:t>
            </a:r>
            <a:endParaRPr kumimoji="0" lang="en-US" sz="1568" b="1" i="0" u="none" strike="noStrike" kern="0" cap="none" spc="0" normalizeH="0" baseline="0" noProof="0" dirty="0">
              <a:ln>
                <a:noFill/>
              </a:ln>
              <a:effectLst/>
              <a:uLnTx/>
              <a:uFillTx/>
              <a:latin typeface="+mj-lt"/>
            </a:endParaRPr>
          </a:p>
        </p:txBody>
      </p:sp>
      <p:sp>
        <p:nvSpPr>
          <p:cNvPr id="45" name="Rectangle: Rounded Corners 44"/>
          <p:cNvSpPr/>
          <p:nvPr/>
        </p:nvSpPr>
        <p:spPr bwMode="auto">
          <a:xfrm>
            <a:off x="6048035" y="4384875"/>
            <a:ext cx="1594823" cy="757768"/>
          </a:xfrm>
          <a:prstGeom prst="round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IoT Device SDK</a:t>
            </a:r>
          </a:p>
        </p:txBody>
      </p:sp>
      <p:sp>
        <p:nvSpPr>
          <p:cNvPr id="47" name="TextBox 46"/>
          <p:cNvSpPr txBox="1"/>
          <p:nvPr/>
        </p:nvSpPr>
        <p:spPr>
          <a:xfrm>
            <a:off x="352016" y="4126980"/>
            <a:ext cx="5462002" cy="1631216"/>
          </a:xfrm>
          <a:prstGeom prst="rect">
            <a:avLst/>
          </a:prstGeom>
          <a:noFill/>
        </p:spPr>
        <p:txBody>
          <a:bodyPr wrap="square">
            <a:spAutoFit/>
          </a:bodyPr>
          <a:lstStyle/>
          <a:p>
            <a:pPr marL="457200" marR="0" lvl="0" indent="-457200" defTabSz="914367" eaLnBrk="1" fontAlgn="auto" latinLnBrk="0" hangingPunct="1">
              <a:lnSpc>
                <a:spcPct val="100000"/>
              </a:lnSpc>
              <a:spcBef>
                <a:spcPts val="0"/>
              </a:spcBef>
              <a:spcAft>
                <a:spcPts val="0"/>
              </a:spcAft>
              <a:buClrTx/>
              <a:buSzTx/>
              <a:buFont typeface="+mj-lt"/>
              <a:buAutoNum type="arabicPeriod" startAt="3"/>
              <a:tabLst/>
              <a:defRPr/>
            </a:pPr>
            <a:r>
              <a:rPr kumimoji="0" lang="en-US" sz="2000" b="0" i="0" u="none" strike="noStrike" kern="0" cap="none" spc="0" normalizeH="0" baseline="0" noProof="0" dirty="0">
                <a:ln>
                  <a:noFill/>
                </a:ln>
                <a:solidFill>
                  <a:srgbClr val="969696"/>
                </a:solidFill>
                <a:effectLst/>
                <a:uLnTx/>
                <a:uFillTx/>
              </a:rPr>
              <a:t>Upload to Blob via IoT Hub</a:t>
            </a:r>
          </a:p>
          <a:p>
            <a:pPr marL="914400" lvl="1" indent="-457200" defTabSz="914367">
              <a:buFont typeface="Arial" panose="020B0604020202020204" pitchFamily="34" charset="0"/>
              <a:buChar char="•"/>
              <a:defRPr/>
            </a:pPr>
            <a:r>
              <a:rPr lang="en-US" sz="2000" kern="0" dirty="0">
                <a:solidFill>
                  <a:srgbClr val="969696"/>
                </a:solidFill>
              </a:rPr>
              <a:t>Use the </a:t>
            </a:r>
            <a:r>
              <a:rPr lang="en-US" sz="2000" kern="0" dirty="0" err="1">
                <a:solidFill>
                  <a:srgbClr val="969696"/>
                </a:solidFill>
              </a:rPr>
              <a:t>UploadToBlobAsync</a:t>
            </a:r>
            <a:r>
              <a:rPr lang="en-US" sz="2000" kern="0" dirty="0">
                <a:solidFill>
                  <a:srgbClr val="969696"/>
                </a:solidFill>
              </a:rPr>
              <a:t> method of Azure IoT Device SDK</a:t>
            </a:r>
          </a:p>
          <a:p>
            <a:pPr marL="914400" lvl="1" indent="-457200" defTabSz="914367">
              <a:buFont typeface="Arial" panose="020B0604020202020204" pitchFamily="34" charset="0"/>
              <a:buChar char="•"/>
              <a:defRPr/>
            </a:pPr>
            <a:r>
              <a:rPr lang="en-US" sz="2000" kern="0" dirty="0">
                <a:solidFill>
                  <a:srgbClr val="969696"/>
                </a:solidFill>
              </a:rPr>
              <a:t>Upload</a:t>
            </a:r>
            <a:r>
              <a:rPr kumimoji="0" lang="en-US" sz="2000" b="0" i="0" u="none" strike="noStrike" kern="0" cap="none" spc="0" normalizeH="0" baseline="0" noProof="0" dirty="0">
                <a:ln>
                  <a:noFill/>
                </a:ln>
                <a:solidFill>
                  <a:srgbClr val="969696"/>
                </a:solidFill>
                <a:effectLst/>
                <a:uLnTx/>
                <a:uFillTx/>
              </a:rPr>
              <a:t> to the specified</a:t>
            </a:r>
            <a:r>
              <a:rPr kumimoji="0" lang="en-US" sz="2000" b="0" i="0" u="none" strike="noStrike" kern="0" cap="none" spc="0" normalizeH="0" noProof="0" dirty="0">
                <a:ln>
                  <a:noFill/>
                </a:ln>
                <a:solidFill>
                  <a:srgbClr val="969696"/>
                </a:solidFill>
                <a:effectLst/>
                <a:uLnTx/>
                <a:uFillTx/>
              </a:rPr>
              <a:t> BLOB by the</a:t>
            </a:r>
            <a:r>
              <a:rPr kumimoji="0" lang="en-US" sz="2000" b="0" i="0" u="none" strike="noStrike" kern="0" cap="none" spc="0" normalizeH="0" baseline="0" noProof="0" dirty="0">
                <a:ln>
                  <a:noFill/>
                </a:ln>
                <a:solidFill>
                  <a:srgbClr val="969696"/>
                </a:solidFill>
                <a:effectLst/>
                <a:uLnTx/>
                <a:uFillTx/>
              </a:rPr>
              <a:t> working IoT Hub</a:t>
            </a:r>
            <a:r>
              <a:rPr kumimoji="0" lang="en-US" sz="2000" b="0" i="0" u="none" strike="noStrike" kern="0" cap="none" spc="0" normalizeH="0" noProof="0" dirty="0">
                <a:ln>
                  <a:noFill/>
                </a:ln>
                <a:solidFill>
                  <a:srgbClr val="969696"/>
                </a:solidFill>
                <a:effectLst/>
                <a:uLnTx/>
                <a:uFillTx/>
              </a:rPr>
              <a:t> </a:t>
            </a:r>
            <a:endParaRPr kumimoji="0" lang="en-US" sz="2000" b="0" i="0" u="none" strike="noStrike" kern="0" cap="none" spc="0" normalizeH="0" baseline="0" noProof="0" dirty="0">
              <a:ln>
                <a:noFill/>
              </a:ln>
              <a:solidFill>
                <a:srgbClr val="969696"/>
              </a:solidFill>
              <a:effectLst/>
              <a:uLnTx/>
              <a:uFillTx/>
            </a:endParaRPr>
          </a:p>
        </p:txBody>
      </p:sp>
      <p:cxnSp>
        <p:nvCxnSpPr>
          <p:cNvPr id="39" name="Straight Arrow Connector 38"/>
          <p:cNvCxnSpPr>
            <a:stCxn id="34" idx="3"/>
            <a:endCxn id="38" idx="1"/>
          </p:cNvCxnSpPr>
          <p:nvPr/>
        </p:nvCxnSpPr>
        <p:spPr>
          <a:xfrm>
            <a:off x="9972196" y="4332869"/>
            <a:ext cx="661557" cy="0"/>
          </a:xfrm>
          <a:prstGeom prst="straightConnector1">
            <a:avLst/>
          </a:prstGeom>
          <a:ln w="38100" cap="flat" cmpd="sng" algn="ctr">
            <a:solidFill>
              <a:schemeClr val="tx1"/>
            </a:solidFill>
            <a:prstDash val="sysDot"/>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
        <p:nvSpPr>
          <p:cNvPr id="38" name="Rectangle: Rounded Corners 37"/>
          <p:cNvSpPr/>
          <p:nvPr/>
        </p:nvSpPr>
        <p:spPr bwMode="auto">
          <a:xfrm>
            <a:off x="10633753" y="3884661"/>
            <a:ext cx="1356189" cy="896415"/>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BLOB</a:t>
            </a:r>
          </a:p>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Primary)</a:t>
            </a:r>
          </a:p>
        </p:txBody>
      </p:sp>
      <p:sp>
        <p:nvSpPr>
          <p:cNvPr id="42" name="Rectangle: Rounded Corners 41"/>
          <p:cNvSpPr/>
          <p:nvPr/>
        </p:nvSpPr>
        <p:spPr bwMode="auto">
          <a:xfrm>
            <a:off x="10633754" y="5059674"/>
            <a:ext cx="1356188" cy="916149"/>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BLOB</a:t>
            </a:r>
          </a:p>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Secondary)</a:t>
            </a:r>
          </a:p>
        </p:txBody>
      </p:sp>
      <p:cxnSp>
        <p:nvCxnSpPr>
          <p:cNvPr id="46" name="Straight Arrow Connector 45"/>
          <p:cNvCxnSpPr>
            <a:stCxn id="35" idx="3"/>
            <a:endCxn id="42" idx="1"/>
          </p:cNvCxnSpPr>
          <p:nvPr/>
        </p:nvCxnSpPr>
        <p:spPr>
          <a:xfrm flipV="1">
            <a:off x="9972197" y="5517749"/>
            <a:ext cx="661557" cy="9867"/>
          </a:xfrm>
          <a:prstGeom prst="straightConnector1">
            <a:avLst/>
          </a:prstGeom>
          <a:ln w="38100" cap="flat" cmpd="sng" algn="ctr">
            <a:solidFill>
              <a:schemeClr val="tx1"/>
            </a:solidFill>
            <a:prstDash val="sysDot"/>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48" name="Straight Arrow Connector 47"/>
          <p:cNvCxnSpPr>
            <a:stCxn id="29" idx="3"/>
            <a:endCxn id="38" idx="1"/>
          </p:cNvCxnSpPr>
          <p:nvPr/>
        </p:nvCxnSpPr>
        <p:spPr>
          <a:xfrm flipV="1">
            <a:off x="10120603" y="4332869"/>
            <a:ext cx="513150" cy="431607"/>
          </a:xfrm>
          <a:prstGeom prst="straightConnector1">
            <a:avLst/>
          </a:prstGeom>
          <a:ln w="38100" cap="flat" cmpd="sng" algn="ctr">
            <a:solidFill>
              <a:schemeClr val="bg2">
                <a:lumMod val="75000"/>
                <a:lumOff val="2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1" name="Straight Arrow Connector 50"/>
          <p:cNvCxnSpPr>
            <a:stCxn id="29" idx="3"/>
            <a:endCxn id="42" idx="1"/>
          </p:cNvCxnSpPr>
          <p:nvPr/>
        </p:nvCxnSpPr>
        <p:spPr>
          <a:xfrm>
            <a:off x="10120603" y="4764476"/>
            <a:ext cx="513151" cy="753273"/>
          </a:xfrm>
          <a:prstGeom prst="straightConnector1">
            <a:avLst/>
          </a:prstGeom>
          <a:ln w="38100" cap="flat" cmpd="sng" algn="ctr">
            <a:solidFill>
              <a:schemeClr val="bg2">
                <a:lumMod val="75000"/>
                <a:lumOff val="2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99044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8"/>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3"/>
                                        </p:tgtEl>
                                        <p:attrNameLst>
                                          <p:attrName>style.visibility</p:attrName>
                                        </p:attrNameLst>
                                      </p:cBhvr>
                                      <p:to>
                                        <p:strVal val="visible"/>
                                      </p:to>
                                    </p:set>
                                    <p:animEffect transition="in" filter="fade">
                                      <p:cBhvr>
                                        <p:cTn id="20" dur="500"/>
                                        <p:tgtEl>
                                          <p:spTgt spid="83"/>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67"/>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48"/>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80" grpId="0"/>
      <p:bldP spid="83" grpId="0"/>
      <p:bldP spid="40" grpId="0"/>
      <p:bldP spid="45" grpId="0" animBg="1"/>
      <p:bldP spid="47" grpId="0"/>
      <p:bldP spid="38" grpId="0" animBg="1"/>
      <p:bldP spid="4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Diagram 21"/>
          <p:cNvGraphicFramePr/>
          <p:nvPr>
            <p:extLst>
              <p:ext uri="{D42A27DB-BD31-4B8C-83A1-F6EECF244321}">
                <p14:modId xmlns:p14="http://schemas.microsoft.com/office/powerpoint/2010/main" val="754901241"/>
              </p:ext>
            </p:extLst>
          </p:nvPr>
        </p:nvGraphicFramePr>
        <p:xfrm>
          <a:off x="475674" y="1227889"/>
          <a:ext cx="11135301"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itle 11"/>
          <p:cNvSpPr>
            <a:spLocks noGrp="1"/>
          </p:cNvSpPr>
          <p:nvPr>
            <p:ph type="title"/>
          </p:nvPr>
        </p:nvSpPr>
        <p:spPr/>
        <p:txBody>
          <a:bodyPr/>
          <a:lstStyle/>
          <a:p>
            <a:r>
              <a:rPr lang="en-US" altLang="zh-TW" dirty="0"/>
              <a:t>File Structure</a:t>
            </a:r>
            <a:endParaRPr lang="zh-TW" altLang="en-US" dirty="0"/>
          </a:p>
        </p:txBody>
      </p:sp>
      <p:sp>
        <p:nvSpPr>
          <p:cNvPr id="58" name="TextBox 57"/>
          <p:cNvSpPr txBox="1"/>
          <p:nvPr/>
        </p:nvSpPr>
        <p:spPr>
          <a:xfrm>
            <a:off x="5533222" y="2114039"/>
            <a:ext cx="2044613" cy="461665"/>
          </a:xfrm>
          <a:prstGeom prst="rect">
            <a:avLst/>
          </a:prstGeom>
        </p:spPr>
        <p:txBody>
          <a:bodyPr vert="horz" wrap="square" lIns="146304" tIns="91440" rIns="146304" bIns="91440" rtlCol="0">
            <a:spAutoFit/>
          </a:bodyPr>
          <a:lstStyle>
            <a:defPPr>
              <a:defRPr lang="en-US"/>
            </a:defPPr>
            <a:lvl1pPr marL="342900" marR="0" lvl="0" indent="-3429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latin typeface="+mj-lt"/>
              </a:defRPr>
            </a:lvl1pPr>
            <a:lvl2pPr marL="584200" marR="0" indent="-2413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342900" marR="0" lvl="0" indent="-342900" defTabSz="932742"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0" cap="none" spc="0" normalizeH="0" baseline="0" noProof="0" dirty="0">
                <a:ln>
                  <a:noFill/>
                </a:ln>
                <a:solidFill>
                  <a:srgbClr val="505050">
                    <a:lumMod val="50000"/>
                  </a:srgbClr>
                </a:solidFill>
                <a:effectLst/>
                <a:uLnTx/>
                <a:uFillTx/>
                <a:latin typeface="Segoe UI Light"/>
              </a:rPr>
              <a:t>IoT Device ID</a:t>
            </a:r>
          </a:p>
        </p:txBody>
      </p:sp>
      <p:sp>
        <p:nvSpPr>
          <p:cNvPr id="81" name="TextBox 80"/>
          <p:cNvSpPr txBox="1"/>
          <p:nvPr/>
        </p:nvSpPr>
        <p:spPr>
          <a:xfrm>
            <a:off x="1730800" y="4265368"/>
            <a:ext cx="3174286" cy="461665"/>
          </a:xfrm>
          <a:prstGeom prst="rect">
            <a:avLst/>
          </a:prstGeom>
        </p:spPr>
        <p:txBody>
          <a:bodyPr vert="horz" wrap="square" lIns="146304" tIns="91440" rIns="146304" bIns="91440" rtlCol="0">
            <a:spAutoFit/>
          </a:bodyPr>
          <a:lstStyle>
            <a:defPPr>
              <a:defRPr lang="en-US"/>
            </a:defPPr>
            <a:lvl1pPr marL="342900" marR="0" lvl="0" indent="-3429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latin typeface="+mj-lt"/>
              </a:defRPr>
            </a:lvl1pPr>
            <a:lvl2pPr marL="584200" marR="0" indent="-2413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342900" marR="0" lvl="0" indent="-342900" defTabSz="932742" eaLnBrk="1" fontAlgn="auto" latinLnBrk="0" hangingPunct="1">
              <a:lnSpc>
                <a:spcPct val="90000"/>
              </a:lnSpc>
              <a:spcBef>
                <a:spcPct val="20000"/>
              </a:spcBef>
              <a:spcAft>
                <a:spcPts val="0"/>
              </a:spcAft>
              <a:buClrTx/>
              <a:buSzPct val="90000"/>
              <a:buFont typeface="Arial" pitchFamily="34" charset="0"/>
              <a:buChar char="•"/>
              <a:tabLst/>
              <a:defRPr/>
            </a:pPr>
            <a:r>
              <a:rPr lang="en-US" kern="0" dirty="0">
                <a:solidFill>
                  <a:srgbClr val="505050">
                    <a:lumMod val="50000"/>
                  </a:srgbClr>
                </a:solidFill>
                <a:latin typeface="Segoe UI Light"/>
              </a:rPr>
              <a:t>Attachment Container</a:t>
            </a:r>
            <a:endParaRPr kumimoji="0" lang="en-US" sz="2000" b="0" i="0" u="none" strike="noStrike" kern="0" cap="none" spc="0" normalizeH="0" baseline="0" noProof="0" dirty="0">
              <a:ln>
                <a:noFill/>
              </a:ln>
              <a:solidFill>
                <a:srgbClr val="505050">
                  <a:lumMod val="50000"/>
                </a:srgbClr>
              </a:solidFill>
              <a:effectLst/>
              <a:uLnTx/>
              <a:uFillTx/>
              <a:latin typeface="Segoe UI Light"/>
            </a:endParaRPr>
          </a:p>
        </p:txBody>
      </p:sp>
      <p:sp>
        <p:nvSpPr>
          <p:cNvPr id="96" name="TextBox 95"/>
          <p:cNvSpPr txBox="1"/>
          <p:nvPr/>
        </p:nvSpPr>
        <p:spPr>
          <a:xfrm>
            <a:off x="8947237" y="2089366"/>
            <a:ext cx="2044613" cy="461665"/>
          </a:xfrm>
          <a:prstGeom prst="rect">
            <a:avLst/>
          </a:prstGeom>
        </p:spPr>
        <p:txBody>
          <a:bodyPr vert="horz" wrap="square" lIns="146304" tIns="91440" rIns="146304" bIns="91440" rtlCol="0">
            <a:spAutoFit/>
          </a:bodyPr>
          <a:lstStyle>
            <a:defPPr>
              <a:defRPr lang="en-US"/>
            </a:defPPr>
            <a:lvl1pPr marL="342900" marR="0" lvl="0" indent="-3429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latin typeface="+mj-lt"/>
              </a:defRPr>
            </a:lvl1pPr>
            <a:lvl2pPr marL="584200" marR="0" indent="-2413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342900" marR="0" lvl="0" indent="-342900" defTabSz="932742" eaLnBrk="1" fontAlgn="auto" latinLnBrk="0" hangingPunct="1">
              <a:lnSpc>
                <a:spcPct val="90000"/>
              </a:lnSpc>
              <a:spcBef>
                <a:spcPct val="20000"/>
              </a:spcBef>
              <a:spcAft>
                <a:spcPts val="0"/>
              </a:spcAft>
              <a:buClrTx/>
              <a:buSzPct val="90000"/>
              <a:buFont typeface="Arial" pitchFamily="34" charset="0"/>
              <a:buChar char="•"/>
              <a:tabLst/>
              <a:defRPr/>
            </a:pPr>
            <a:r>
              <a:rPr lang="en-US" kern="0" dirty="0">
                <a:solidFill>
                  <a:srgbClr val="505050">
                    <a:lumMod val="50000"/>
                  </a:srgbClr>
                </a:solidFill>
                <a:latin typeface="Segoe UI Light"/>
              </a:rPr>
              <a:t>Blob File</a:t>
            </a:r>
            <a:endParaRPr kumimoji="0" lang="en-US" sz="2000" b="0" i="0" u="none" strike="noStrike" kern="0" cap="none" spc="0" normalizeH="0" baseline="0" noProof="0" dirty="0">
              <a:ln>
                <a:noFill/>
              </a:ln>
              <a:solidFill>
                <a:srgbClr val="505050">
                  <a:lumMod val="50000"/>
                </a:srgbClr>
              </a:solidFill>
              <a:effectLst/>
              <a:uLnTx/>
              <a:uFillTx/>
              <a:latin typeface="Segoe UI Light"/>
            </a:endParaRPr>
          </a:p>
        </p:txBody>
      </p:sp>
      <p:sp>
        <p:nvSpPr>
          <p:cNvPr id="97" name="TextBox 96"/>
          <p:cNvSpPr txBox="1"/>
          <p:nvPr/>
        </p:nvSpPr>
        <p:spPr>
          <a:xfrm>
            <a:off x="475674" y="1858533"/>
            <a:ext cx="2439465" cy="461665"/>
          </a:xfrm>
          <a:prstGeom prst="rect">
            <a:avLst/>
          </a:prstGeom>
        </p:spPr>
        <p:txBody>
          <a:bodyPr vert="horz" wrap="square" lIns="146304" tIns="91440" rIns="146304" bIns="91440" rtlCol="0">
            <a:spAutoFit/>
          </a:bodyPr>
          <a:lstStyle>
            <a:defPPr>
              <a:defRPr lang="en-US"/>
            </a:defPPr>
            <a:lvl1pPr marL="342900" marR="0" lvl="0" indent="-3429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latin typeface="+mj-lt"/>
              </a:defRPr>
            </a:lvl1pPr>
            <a:lvl2pPr marL="584200" marR="0" indent="-2413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342900" marR="0" lvl="0" indent="-342900" defTabSz="932742" eaLnBrk="1" fontAlgn="auto" latinLnBrk="0" hangingPunct="1">
              <a:lnSpc>
                <a:spcPct val="90000"/>
              </a:lnSpc>
              <a:spcBef>
                <a:spcPct val="20000"/>
              </a:spcBef>
              <a:spcAft>
                <a:spcPts val="0"/>
              </a:spcAft>
              <a:buClrTx/>
              <a:buSzPct val="90000"/>
              <a:buFont typeface="Arial" pitchFamily="34" charset="0"/>
              <a:buChar char="•"/>
              <a:tabLst/>
              <a:defRPr/>
            </a:pPr>
            <a:r>
              <a:rPr lang="en-US" kern="0" dirty="0">
                <a:solidFill>
                  <a:srgbClr val="505050">
                    <a:lumMod val="50000"/>
                  </a:srgbClr>
                </a:solidFill>
                <a:latin typeface="Segoe UI Light"/>
              </a:rPr>
              <a:t>Storage Account</a:t>
            </a:r>
            <a:endParaRPr kumimoji="0" lang="en-US" sz="2000" b="0" i="0" u="none" strike="noStrike" kern="0" cap="none" spc="0" normalizeH="0" baseline="0" noProof="0" dirty="0">
              <a:ln>
                <a:noFill/>
              </a:ln>
              <a:solidFill>
                <a:srgbClr val="505050">
                  <a:lumMod val="50000"/>
                </a:srgbClr>
              </a:solidFill>
              <a:effectLst/>
              <a:uLnTx/>
              <a:uFillTx/>
              <a:latin typeface="Segoe UI Light"/>
            </a:endParaRPr>
          </a:p>
        </p:txBody>
      </p:sp>
    </p:spTree>
    <p:extLst>
      <p:ext uri="{BB962C8B-B14F-4D97-AF65-F5344CB8AC3E}">
        <p14:creationId xmlns:p14="http://schemas.microsoft.com/office/powerpoint/2010/main" val="168485810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altLang="zh-TW" sz="4705" b="0" i="0" u="none" strike="noStrike" kern="1200" cap="none" spc="-100" normalizeH="0" baseline="0" noProof="0" dirty="0">
                <a:ln w="3175">
                  <a:noFill/>
                </a:ln>
                <a:solidFill>
                  <a:srgbClr val="FFFFFF"/>
                </a:solidFill>
                <a:effectLst/>
                <a:uLnTx/>
                <a:uFillTx/>
                <a:latin typeface="+mj-lt"/>
                <a:ea typeface="+mn-ea"/>
                <a:cs typeface="Segoe UI" pitchFamily="34" charset="0"/>
              </a:rPr>
              <a:t>Project Structure</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80" name="TextBox 79"/>
          <p:cNvSpPr txBox="1"/>
          <p:nvPr/>
        </p:nvSpPr>
        <p:spPr>
          <a:xfrm>
            <a:off x="4267200" y="1688662"/>
            <a:ext cx="8191499" cy="2308324"/>
          </a:xfrm>
          <a:prstGeom prst="rect">
            <a:avLst/>
          </a:prstGeom>
          <a:noFill/>
        </p:spPr>
        <p:txBody>
          <a:bodyPr wrap="square">
            <a:spAutoFit/>
          </a:bodyPr>
          <a:lstStyle/>
          <a:p>
            <a:pPr marR="0" lvl="0" defTabSz="914367"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solidFill>
                  <a:srgbClr val="969696"/>
                </a:solidFill>
                <a:effectLst/>
                <a:uLnTx/>
                <a:uFillTx/>
              </a:rPr>
              <a:t>Name:</a:t>
            </a:r>
            <a:r>
              <a:rPr kumimoji="0" lang="en-US" sz="2400" b="0" i="0" u="none" strike="noStrike" kern="0" cap="none" spc="0" normalizeH="0" baseline="0" noProof="0" dirty="0">
                <a:ln>
                  <a:noFill/>
                </a:ln>
                <a:solidFill>
                  <a:srgbClr val="969696"/>
                </a:solidFill>
                <a:effectLst/>
                <a:uLnTx/>
                <a:uFillTx/>
              </a:rPr>
              <a:t> </a:t>
            </a:r>
            <a:r>
              <a:rPr kumimoji="0" lang="en-US" sz="2400" b="0" i="0" u="none" strike="noStrike" kern="0" cap="none" spc="0" normalizeH="0" baseline="0" noProof="0" dirty="0" err="1">
                <a:ln>
                  <a:noFill/>
                </a:ln>
                <a:solidFill>
                  <a:srgbClr val="969696"/>
                </a:solidFill>
                <a:effectLst/>
                <a:uLnTx/>
                <a:uFillTx/>
              </a:rPr>
              <a:t>sfDeviceLib</a:t>
            </a:r>
            <a:endParaRPr kumimoji="0" lang="en-US" sz="2400" b="0" i="0" u="none" strike="noStrike" kern="0" cap="none" spc="0" normalizeH="0" baseline="0" noProof="0" dirty="0">
              <a:ln>
                <a:noFill/>
              </a:ln>
              <a:solidFill>
                <a:srgbClr val="969696"/>
              </a:solidFill>
              <a:effectLst/>
              <a:uLnTx/>
              <a:uFillTx/>
            </a:endParaRPr>
          </a:p>
          <a:p>
            <a:pPr marR="0" lvl="0" defTabSz="914367" eaLnBrk="1" fontAlgn="auto" latinLnBrk="0" hangingPunct="1">
              <a:lnSpc>
                <a:spcPct val="100000"/>
              </a:lnSpc>
              <a:spcBef>
                <a:spcPts val="0"/>
              </a:spcBef>
              <a:spcAft>
                <a:spcPts val="0"/>
              </a:spcAft>
              <a:buClrTx/>
              <a:buSzTx/>
              <a:tabLst/>
              <a:defRPr/>
            </a:pPr>
            <a:r>
              <a:rPr lang="en-US" sz="2400" b="1" kern="0" dirty="0">
                <a:solidFill>
                  <a:srgbClr val="969696"/>
                </a:solidFill>
              </a:rPr>
              <a:t>4 Projects</a:t>
            </a: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solidFill>
                  <a:srgbClr val="969696"/>
                </a:solidFill>
                <a:effectLst/>
                <a:uLnTx/>
                <a:uFillTx/>
              </a:rPr>
              <a:t>CSSDK:</a:t>
            </a:r>
            <a:r>
              <a:rPr kumimoji="0" lang="en-US" sz="2400" b="0" i="0" u="none" strike="noStrike" kern="0" cap="none" spc="0" normalizeH="0" baseline="0" noProof="0" dirty="0">
                <a:ln>
                  <a:noFill/>
                </a:ln>
                <a:solidFill>
                  <a:srgbClr val="969696"/>
                </a:solidFill>
                <a:effectLst/>
                <a:uLnTx/>
                <a:uFillTx/>
              </a:rPr>
              <a:t> Device</a:t>
            </a:r>
            <a:r>
              <a:rPr kumimoji="0" lang="en-US" sz="2400" b="0" i="0" u="none" strike="noStrike" kern="0" cap="none" spc="0" normalizeH="0" noProof="0" dirty="0">
                <a:ln>
                  <a:noFill/>
                </a:ln>
                <a:solidFill>
                  <a:srgbClr val="969696"/>
                </a:solidFill>
                <a:effectLst/>
                <a:uLnTx/>
                <a:uFillTx/>
              </a:rPr>
              <a:t> SDK for C#</a:t>
            </a:r>
            <a:endParaRPr kumimoji="0" lang="en-US" sz="2400" b="0" i="0" u="none" strike="noStrike" kern="0" cap="none" spc="0" normalizeH="0" baseline="0" noProof="0" dirty="0">
              <a:ln>
                <a:noFill/>
              </a:ln>
              <a:solidFill>
                <a:srgbClr val="969696"/>
              </a:solidFill>
              <a:effectLst/>
              <a:uLnTx/>
              <a:uFillTx/>
            </a:endParaRP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1" kern="0" dirty="0" err="1">
                <a:solidFill>
                  <a:srgbClr val="969696"/>
                </a:solidFill>
              </a:rPr>
              <a:t>CSSDK_Sample</a:t>
            </a:r>
            <a:r>
              <a:rPr lang="en-US" sz="2400" b="1" kern="0" dirty="0">
                <a:solidFill>
                  <a:srgbClr val="969696"/>
                </a:solidFill>
              </a:rPr>
              <a:t>:</a:t>
            </a:r>
            <a:r>
              <a:rPr lang="en-US" sz="2400" kern="0" dirty="0">
                <a:solidFill>
                  <a:srgbClr val="969696"/>
                </a:solidFill>
              </a:rPr>
              <a:t> The sample app for C# SDK</a:t>
            </a: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err="1">
                <a:ln>
                  <a:noFill/>
                </a:ln>
                <a:solidFill>
                  <a:srgbClr val="969696"/>
                </a:solidFill>
                <a:effectLst/>
                <a:uLnTx/>
                <a:uFillTx/>
              </a:rPr>
              <a:t>NodejsSDK</a:t>
            </a:r>
            <a:r>
              <a:rPr kumimoji="0" lang="en-US" sz="2400" b="1" i="0" u="none" strike="noStrike" kern="0" cap="none" spc="0" normalizeH="0" baseline="0" noProof="0" dirty="0">
                <a:ln>
                  <a:noFill/>
                </a:ln>
                <a:solidFill>
                  <a:srgbClr val="969696"/>
                </a:solidFill>
                <a:effectLst/>
                <a:uLnTx/>
                <a:uFillTx/>
              </a:rPr>
              <a:t>: </a:t>
            </a:r>
            <a:r>
              <a:rPr kumimoji="0" lang="en-US" sz="2400" b="0" i="0" u="none" strike="noStrike" kern="0" cap="none" spc="0" normalizeH="0" baseline="0" noProof="0" dirty="0">
                <a:ln>
                  <a:noFill/>
                </a:ln>
                <a:solidFill>
                  <a:srgbClr val="969696"/>
                </a:solidFill>
                <a:effectLst/>
                <a:uLnTx/>
                <a:uFillTx/>
              </a:rPr>
              <a:t>Device SDK for Node.js</a:t>
            </a: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1" kern="0" dirty="0" err="1">
                <a:solidFill>
                  <a:srgbClr val="969696"/>
                </a:solidFill>
              </a:rPr>
              <a:t>NodejsSDK_Sample</a:t>
            </a:r>
            <a:r>
              <a:rPr lang="en-US" sz="2400" b="1" kern="0" dirty="0">
                <a:solidFill>
                  <a:srgbClr val="969696"/>
                </a:solidFill>
              </a:rPr>
              <a:t>:</a:t>
            </a:r>
            <a:r>
              <a:rPr lang="en-US" sz="2400" kern="0" dirty="0">
                <a:solidFill>
                  <a:srgbClr val="969696"/>
                </a:solidFill>
              </a:rPr>
              <a:t> The sample app for Node.js SDK</a:t>
            </a:r>
            <a:endParaRPr kumimoji="0" lang="en-US" sz="2400" b="0" i="0" u="none" strike="noStrike" kern="0" cap="none" spc="0" normalizeH="0" baseline="0" noProof="0" dirty="0">
              <a:ln>
                <a:noFill/>
              </a:ln>
              <a:solidFill>
                <a:srgbClr val="969696"/>
              </a:solidFill>
              <a:effectLst/>
              <a:uLnTx/>
              <a:uFillTx/>
            </a:endParaRPr>
          </a:p>
        </p:txBody>
      </p:sp>
      <p:pic>
        <p:nvPicPr>
          <p:cNvPr id="3" name="Picture 2"/>
          <p:cNvPicPr>
            <a:picLocks noChangeAspect="1"/>
          </p:cNvPicPr>
          <p:nvPr/>
        </p:nvPicPr>
        <p:blipFill>
          <a:blip r:embed="rId3"/>
          <a:stretch>
            <a:fillRect/>
          </a:stretch>
        </p:blipFill>
        <p:spPr>
          <a:xfrm>
            <a:off x="414337" y="1688662"/>
            <a:ext cx="3745607" cy="4416863"/>
          </a:xfrm>
          <a:prstGeom prst="rect">
            <a:avLst/>
          </a:prstGeom>
        </p:spPr>
      </p:pic>
    </p:spTree>
    <p:extLst>
      <p:ext uri="{BB962C8B-B14F-4D97-AF65-F5344CB8AC3E}">
        <p14:creationId xmlns:p14="http://schemas.microsoft.com/office/powerpoint/2010/main" val="3955551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What the next will be done </a:t>
            </a:r>
            <a:endParaRPr lang="zh-TW" altLang="en-US" dirty="0"/>
          </a:p>
        </p:txBody>
      </p:sp>
      <p:sp>
        <p:nvSpPr>
          <p:cNvPr id="30" name="Content Placeholder 4"/>
          <p:cNvSpPr txBox="1">
            <a:spLocks/>
          </p:cNvSpPr>
          <p:nvPr/>
        </p:nvSpPr>
        <p:spPr>
          <a:xfrm>
            <a:off x="838200" y="1825625"/>
            <a:ext cx="10515600" cy="435133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r>
              <a:rPr kumimoji="0" lang="en-US"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Device Management</a:t>
            </a:r>
          </a:p>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r>
              <a:rPr kumimoji="0" lang="en-US"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Regularly updated for new Azure IoT</a:t>
            </a:r>
            <a:r>
              <a:rPr kumimoji="0" lang="en-US" altLang="zh-TW" sz="32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Device SDKs</a:t>
            </a:r>
            <a:endParaRPr kumimoji="0" lang="en-US"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r>
              <a:rPr kumimoji="0" lang="en-US"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X.509 on Node.js</a:t>
            </a:r>
            <a:r>
              <a:rPr kumimoji="0" lang="en-US" altLang="zh-TW" sz="32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rPr>
              <a:t> SDK</a:t>
            </a:r>
          </a:p>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r>
              <a:rPr lang="en-US" altLang="zh-TW" sz="3200" dirty="0"/>
              <a:t>Bug fixes</a:t>
            </a:r>
            <a:endParaRPr kumimoji="0" lang="en-US" altLang="zh-TW" sz="3200" b="0" i="0" u="none" strike="noStrike" kern="1200" cap="none" spc="0" normalizeH="0" noProof="0" dirty="0">
              <a:ln>
                <a:noFill/>
              </a:ln>
              <a:gradFill>
                <a:gsLst>
                  <a:gs pos="1250">
                    <a:schemeClr val="tx1"/>
                  </a:gs>
                  <a:gs pos="100000">
                    <a:schemeClr val="tx1"/>
                  </a:gs>
                </a:gsLst>
                <a:lin ang="5400000" scaled="0"/>
              </a:gradFill>
              <a:effectLst/>
              <a:uLnTx/>
              <a:uFillTx/>
              <a:latin typeface="+mj-lt"/>
              <a:ea typeface="+mn-ea"/>
              <a:cs typeface="+mn-cs"/>
            </a:endParaRPr>
          </a:p>
          <a:p>
            <a:pPr marL="514350" marR="0" lvl="0" indent="-514350" algn="l" defTabSz="914367" rtl="0" eaLnBrk="1" fontAlgn="auto" latinLnBrk="0" hangingPunct="1">
              <a:lnSpc>
                <a:spcPct val="90000"/>
              </a:lnSpc>
              <a:spcBef>
                <a:spcPct val="20000"/>
              </a:spcBef>
              <a:spcAft>
                <a:spcPts val="0"/>
              </a:spcAft>
              <a:buClrTx/>
              <a:buSzPct val="90000"/>
              <a:buFont typeface="+mj-lt"/>
              <a:buAutoNum type="arabicPeriod"/>
              <a:tabLst/>
              <a:defRPr/>
            </a:pPr>
            <a:endParaRPr kumimoji="0" lang="en-US"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zh-TW" altLang="en-US" sz="3921"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Tree>
    <p:extLst>
      <p:ext uri="{BB962C8B-B14F-4D97-AF65-F5344CB8AC3E}">
        <p14:creationId xmlns:p14="http://schemas.microsoft.com/office/powerpoint/2010/main" val="30786829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601992" y="1321353"/>
            <a:ext cx="10008983" cy="5347411"/>
          </a:xfrm>
          <a:prstGeom prst="rect">
            <a:avLst/>
          </a:prstGeom>
        </p:spPr>
      </p:pic>
      <p:sp>
        <p:nvSpPr>
          <p:cNvPr id="4" name="Title 3"/>
          <p:cNvSpPr>
            <a:spLocks noGrp="1"/>
          </p:cNvSpPr>
          <p:nvPr>
            <p:ph type="title"/>
          </p:nvPr>
        </p:nvSpPr>
        <p:spPr/>
        <p:txBody>
          <a:bodyPr/>
          <a:lstStyle/>
          <a:p>
            <a:r>
              <a:rPr lang="en-US" dirty="0"/>
              <a:t>Architecture</a:t>
            </a:r>
          </a:p>
        </p:txBody>
      </p:sp>
      <p:sp>
        <p:nvSpPr>
          <p:cNvPr id="2" name="Rectangle 1"/>
          <p:cNvSpPr/>
          <p:nvPr/>
        </p:nvSpPr>
        <p:spPr bwMode="auto">
          <a:xfrm>
            <a:off x="10269415" y="2461846"/>
            <a:ext cx="1594340" cy="2922392"/>
          </a:xfrm>
          <a:prstGeom prst="rect">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zh-TW" alt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Arrow: Down 5"/>
          <p:cNvSpPr/>
          <p:nvPr/>
        </p:nvSpPr>
        <p:spPr bwMode="auto">
          <a:xfrm rot="2522016">
            <a:off x="11172301" y="2023169"/>
            <a:ext cx="304800" cy="332509"/>
          </a:xfrm>
          <a:prstGeom prst="downArrow">
            <a:avLst/>
          </a:prstGeom>
          <a:solidFill>
            <a:srgbClr val="FF000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zh-TW" alt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390696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0865" y="1268486"/>
            <a:ext cx="10779258" cy="4462760"/>
          </a:xfrm>
          <a:prstGeom prst="rect">
            <a:avLst/>
          </a:prstGeom>
          <a:noFill/>
        </p:spPr>
        <p:txBody>
          <a:bodyPr wrap="square" rtlCol="0">
            <a:spAutoFit/>
          </a:bodyPr>
          <a:lstStyle/>
          <a:p>
            <a:r>
              <a:rPr lang="en-US" altLang="zh-TW" sz="3200" dirty="0">
                <a:latin typeface="+mj-ea"/>
                <a:ea typeface="+mj-ea"/>
              </a:rPr>
              <a:t>Goal</a:t>
            </a:r>
            <a:endParaRPr lang="en-US" altLang="zh-TW" sz="2000" dirty="0">
              <a:latin typeface="+mj-ea"/>
              <a:ea typeface="+mj-ea"/>
            </a:endParaRPr>
          </a:p>
          <a:p>
            <a:pPr marL="342900" indent="-342900">
              <a:buFont typeface="Arial" panose="020B0604020202020204" pitchFamily="34" charset="0"/>
              <a:buChar char="•"/>
            </a:pPr>
            <a:r>
              <a:rPr lang="en-US" altLang="zh-TW" sz="2000" dirty="0"/>
              <a:t>Integration with Azure IoT Device SDKs for easily use Connected Device Studio on the IoT Devices.</a:t>
            </a:r>
          </a:p>
          <a:p>
            <a:endParaRPr lang="en-US" altLang="zh-TW" sz="2000" dirty="0"/>
          </a:p>
          <a:p>
            <a:r>
              <a:rPr lang="en-US" altLang="zh-TW" sz="3200" dirty="0">
                <a:latin typeface="+mj-ea"/>
                <a:ea typeface="+mj-ea"/>
              </a:rPr>
              <a:t>Features</a:t>
            </a:r>
          </a:p>
          <a:p>
            <a:pPr marL="342900" indent="-342900">
              <a:buFont typeface="Arial" panose="020B0604020202020204" pitchFamily="34" charset="0"/>
              <a:buChar char="•"/>
            </a:pPr>
            <a:r>
              <a:rPr lang="en-US" altLang="zh-TW" sz="2000" dirty="0"/>
              <a:t>Fully management with back-end and Azure services</a:t>
            </a:r>
          </a:p>
          <a:p>
            <a:pPr marL="342900" indent="-342900">
              <a:buFont typeface="Arial" panose="020B0604020202020204" pitchFamily="34" charset="0"/>
              <a:buChar char="•"/>
            </a:pPr>
            <a:r>
              <a:rPr lang="en-US" altLang="zh-TW" sz="2000" dirty="0"/>
              <a:t>Adjustable device settings as IoT Hub alias, protocols, and Authentication type</a:t>
            </a:r>
          </a:p>
          <a:p>
            <a:pPr marL="342900" indent="-342900">
              <a:buFont typeface="Arial" panose="020B0604020202020204" pitchFamily="34" charset="0"/>
              <a:buChar char="•"/>
            </a:pPr>
            <a:r>
              <a:rPr lang="en-US" altLang="zh-TW" sz="2000" dirty="0"/>
              <a:t>Message validation by the predefined schema</a:t>
            </a:r>
          </a:p>
          <a:p>
            <a:pPr marL="342900" indent="-342900">
              <a:buFont typeface="Arial" panose="020B0604020202020204" pitchFamily="34" charset="0"/>
              <a:buChar char="•"/>
            </a:pPr>
            <a:r>
              <a:rPr lang="en-US" altLang="zh-TW" sz="2000" dirty="0"/>
              <a:t>Send telemetry data with retry mechanism</a:t>
            </a:r>
          </a:p>
          <a:p>
            <a:pPr marL="342900" indent="-342900">
              <a:buFont typeface="Arial" panose="020B0604020202020204" pitchFamily="34" charset="0"/>
              <a:buChar char="•"/>
            </a:pPr>
            <a:r>
              <a:rPr lang="en-US" altLang="zh-TW" sz="2000" dirty="0"/>
              <a:t>Cloud-to-Device message and ack supported </a:t>
            </a:r>
          </a:p>
          <a:p>
            <a:pPr marL="342900" indent="-342900">
              <a:buFont typeface="Arial" panose="020B0604020202020204" pitchFamily="34" charset="0"/>
              <a:buChar char="•"/>
            </a:pPr>
            <a:r>
              <a:rPr lang="en-US" altLang="zh-TW" sz="2000" dirty="0"/>
              <a:t>Failover on IoT Hub</a:t>
            </a:r>
          </a:p>
          <a:p>
            <a:pPr marL="342900" indent="-342900">
              <a:buFont typeface="Arial" panose="020B0604020202020204" pitchFamily="34" charset="0"/>
              <a:buChar char="•"/>
            </a:pPr>
            <a:r>
              <a:rPr lang="en-US" altLang="zh-TW" sz="2000" dirty="0"/>
              <a:t>File upload (via IoT Hub)</a:t>
            </a:r>
          </a:p>
          <a:p>
            <a:pPr marL="342900" indent="-342900">
              <a:buFont typeface="Arial" panose="020B0604020202020204" pitchFamily="34" charset="0"/>
              <a:buChar char="•"/>
            </a:pPr>
            <a:r>
              <a:rPr lang="en-US" altLang="zh-TW" sz="2000" dirty="0"/>
              <a:t>Ready for C# and Node.js SDKs</a:t>
            </a:r>
            <a:endParaRPr lang="zh-TW" altLang="en-US" sz="2000" dirty="0"/>
          </a:p>
        </p:txBody>
      </p:sp>
      <p:sp>
        <p:nvSpPr>
          <p:cNvPr id="7" name="Title 3"/>
          <p:cNvSpPr>
            <a:spLocks noGrp="1"/>
          </p:cNvSpPr>
          <p:nvPr>
            <p:ph type="title"/>
          </p:nvPr>
        </p:nvSpPr>
        <p:spPr>
          <a:xfrm>
            <a:off x="269240" y="289511"/>
            <a:ext cx="11655840" cy="899665"/>
          </a:xfrm>
        </p:spPr>
        <p:txBody>
          <a:bodyPr/>
          <a:lstStyle/>
          <a:p>
            <a:r>
              <a:rPr lang="en-US" dirty="0"/>
              <a:t>Device SDK</a:t>
            </a:r>
          </a:p>
        </p:txBody>
      </p:sp>
    </p:spTree>
    <p:extLst>
      <p:ext uri="{BB962C8B-B14F-4D97-AF65-F5344CB8AC3E}">
        <p14:creationId xmlns:p14="http://schemas.microsoft.com/office/powerpoint/2010/main" val="29426107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a:lnSpc>
                <a:spcPct val="90000"/>
              </a:lnSpc>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solidFill>
                  <a:srgbClr val="FFFFFF"/>
                </a:solidFill>
              </a:rPr>
              <a:t>Diagram</a:t>
            </a:r>
          </a:p>
        </p:txBody>
      </p:sp>
      <p:sp>
        <p:nvSpPr>
          <p:cNvPr id="7" name="TextBox 6"/>
          <p:cNvSpPr txBox="1"/>
          <p:nvPr/>
        </p:nvSpPr>
        <p:spPr>
          <a:xfrm>
            <a:off x="244937" y="1415980"/>
            <a:ext cx="5372092" cy="400110"/>
          </a:xfrm>
          <a:prstGeom prst="rect">
            <a:avLst/>
          </a:prstGeom>
          <a:noFill/>
        </p:spPr>
        <p:txBody>
          <a:bodyPr wrap="square">
            <a:spAutoFit/>
          </a:bodyPr>
          <a:lstStyle/>
          <a:p>
            <a:pPr marL="457200" indent="-457200" defTabSz="914367">
              <a:spcAft>
                <a:spcPts val="2353"/>
              </a:spcAft>
              <a:buFont typeface="Arial" panose="020B0604020202020204" pitchFamily="34" charset="0"/>
              <a:buChar char="•"/>
              <a:defRPr/>
            </a:pPr>
            <a:r>
              <a:rPr lang="en-US" sz="2000" kern="0" dirty="0">
                <a:solidFill>
                  <a:srgbClr val="969696"/>
                </a:solidFill>
                <a:latin typeface="+mj-lt"/>
              </a:rPr>
              <a:t>Setup the Device Configurations from portal</a:t>
            </a:r>
          </a:p>
        </p:txBody>
      </p:sp>
      <p:sp>
        <p:nvSpPr>
          <p:cNvPr id="2" name="Rectangle: Rounded Corners 1"/>
          <p:cNvSpPr/>
          <p:nvPr/>
        </p:nvSpPr>
        <p:spPr bwMode="auto">
          <a:xfrm>
            <a:off x="3845078" y="1953866"/>
            <a:ext cx="6923966" cy="4729673"/>
          </a:xfrm>
          <a:prstGeom prst="roundRect">
            <a:avLst/>
          </a:prstGeom>
          <a:solidFill>
            <a:srgbClr val="BAD80A"/>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zh-TW" alt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a:off x="4363283" y="2051065"/>
            <a:ext cx="3255762" cy="333617"/>
          </a:xfrm>
          <a:prstGeom prst="rect">
            <a:avLst/>
          </a:prstGeom>
          <a:noFill/>
        </p:spPr>
        <p:txBody>
          <a:bodyPr wrap="square">
            <a:spAutoFit/>
          </a:bodyPr>
          <a:lstStyle/>
          <a:p>
            <a:pPr defTabSz="914367">
              <a:spcAft>
                <a:spcPts val="2353"/>
              </a:spcAft>
              <a:defRPr/>
            </a:pPr>
            <a:r>
              <a:rPr lang="en-US" sz="1568" b="1" kern="0" dirty="0">
                <a:solidFill>
                  <a:schemeClr val="bg2"/>
                </a:solidFill>
                <a:latin typeface="+mj-lt"/>
              </a:rPr>
              <a:t>Azure</a:t>
            </a:r>
          </a:p>
        </p:txBody>
      </p:sp>
      <p:sp>
        <p:nvSpPr>
          <p:cNvPr id="46" name="Rectangle: Rounded Corners 45"/>
          <p:cNvSpPr/>
          <p:nvPr/>
        </p:nvSpPr>
        <p:spPr bwMode="auto">
          <a:xfrm>
            <a:off x="7432703" y="2404561"/>
            <a:ext cx="1246188" cy="1016786"/>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SQL DB</a:t>
            </a:r>
          </a:p>
        </p:txBody>
      </p:sp>
      <p:sp>
        <p:nvSpPr>
          <p:cNvPr id="49" name="Rectangle: Rounded Corners 48"/>
          <p:cNvSpPr/>
          <p:nvPr/>
        </p:nvSpPr>
        <p:spPr bwMode="auto">
          <a:xfrm>
            <a:off x="1594510" y="3726068"/>
            <a:ext cx="1978847" cy="2950696"/>
          </a:xfrm>
          <a:prstGeom prst="round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Application</a:t>
            </a:r>
            <a:endParaRPr lang="zh-TW" altLang="en-US" sz="137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nvSpPr>
        <p:spPr>
          <a:xfrm>
            <a:off x="1594510" y="3373109"/>
            <a:ext cx="1756621" cy="331899"/>
          </a:xfrm>
          <a:prstGeom prst="rect">
            <a:avLst/>
          </a:prstGeom>
          <a:noFill/>
        </p:spPr>
        <p:txBody>
          <a:bodyPr wrap="square">
            <a:spAutoFit/>
          </a:bodyPr>
          <a:lstStyle/>
          <a:p>
            <a:pPr defTabSz="914367">
              <a:spcAft>
                <a:spcPts val="2353"/>
              </a:spcAft>
              <a:defRPr/>
            </a:pPr>
            <a:r>
              <a:rPr lang="en-US" sz="1568" b="1" kern="0" dirty="0">
                <a:solidFill>
                  <a:schemeClr val="bg2"/>
                </a:solidFill>
                <a:latin typeface="+mj-lt"/>
              </a:rPr>
              <a:t>IoT Device</a:t>
            </a:r>
          </a:p>
        </p:txBody>
      </p:sp>
      <p:cxnSp>
        <p:nvCxnSpPr>
          <p:cNvPr id="66" name="Straight Arrow Connector 65"/>
          <p:cNvCxnSpPr>
            <a:stCxn id="29" idx="3"/>
            <a:endCxn id="46" idx="1"/>
          </p:cNvCxnSpPr>
          <p:nvPr/>
        </p:nvCxnSpPr>
        <p:spPr>
          <a:xfrm flipV="1">
            <a:off x="6650669" y="2912954"/>
            <a:ext cx="782034" cy="3725"/>
          </a:xfrm>
          <a:prstGeom prst="straightConnector1">
            <a:avLst/>
          </a:prstGeom>
          <a:ln w="38100"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9" name="Rectangle: Rounded Corners 28"/>
          <p:cNvSpPr/>
          <p:nvPr/>
        </p:nvSpPr>
        <p:spPr bwMode="auto">
          <a:xfrm>
            <a:off x="4467928" y="2409055"/>
            <a:ext cx="2182741" cy="1015248"/>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solidFill>
                  <a:schemeClr val="bg2"/>
                </a:solidFill>
                <a:ea typeface="Segoe UI" pitchFamily="34" charset="0"/>
                <a:cs typeface="Segoe UI" pitchFamily="34" charset="0"/>
              </a:rPr>
              <a:t>API Service </a:t>
            </a:r>
            <a:endParaRPr lang="zh-TW" altLang="en-US" sz="1372" kern="0" dirty="0" err="1">
              <a:solidFill>
                <a:schemeClr val="bg2"/>
              </a:solidFill>
              <a:ea typeface="Segoe UI" pitchFamily="34" charset="0"/>
              <a:cs typeface="Segoe UI" pitchFamily="34" charset="0"/>
            </a:endParaRPr>
          </a:p>
        </p:txBody>
      </p:sp>
      <p:sp>
        <p:nvSpPr>
          <p:cNvPr id="32" name="Rectangle: Rounded Corners 31"/>
          <p:cNvSpPr/>
          <p:nvPr/>
        </p:nvSpPr>
        <p:spPr bwMode="auto">
          <a:xfrm>
            <a:off x="1866232" y="4290607"/>
            <a:ext cx="1434264" cy="2099287"/>
          </a:xfrm>
          <a:prstGeom prst="round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gradFill>
                  <a:gsLst>
                    <a:gs pos="0">
                      <a:srgbClr val="FFFFFF"/>
                    </a:gs>
                    <a:gs pos="100000">
                      <a:srgbClr val="FFFFFF"/>
                    </a:gs>
                  </a:gsLst>
                  <a:lin ang="5400000" scaled="0"/>
                </a:gradFill>
                <a:ea typeface="Segoe UI" pitchFamily="34" charset="0"/>
                <a:cs typeface="Segoe UI" pitchFamily="34" charset="0"/>
              </a:rPr>
              <a:t>C#/Node.js Device SDK</a:t>
            </a:r>
            <a:endParaRPr lang="zh-TW" altLang="en-US" sz="137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Rounded Corners 33"/>
          <p:cNvSpPr/>
          <p:nvPr/>
        </p:nvSpPr>
        <p:spPr bwMode="auto">
          <a:xfrm>
            <a:off x="4467928" y="3688595"/>
            <a:ext cx="4266112" cy="1560956"/>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solidFill>
                  <a:schemeClr val="bg2"/>
                </a:solidFill>
                <a:ea typeface="Segoe UI" pitchFamily="34" charset="0"/>
                <a:cs typeface="Segoe UI" pitchFamily="34" charset="0"/>
              </a:rPr>
              <a:t>IoT Hub Alias </a:t>
            </a:r>
            <a:endParaRPr lang="zh-TW" altLang="en-US" sz="1372" kern="0" dirty="0" err="1">
              <a:solidFill>
                <a:schemeClr val="bg2"/>
              </a:solidFill>
              <a:ea typeface="Segoe UI" pitchFamily="34" charset="0"/>
              <a:cs typeface="Segoe UI" pitchFamily="34" charset="0"/>
            </a:endParaRPr>
          </a:p>
        </p:txBody>
      </p:sp>
      <p:sp>
        <p:nvSpPr>
          <p:cNvPr id="35" name="Rectangle: Rounded Corners 34"/>
          <p:cNvSpPr/>
          <p:nvPr/>
        </p:nvSpPr>
        <p:spPr bwMode="auto">
          <a:xfrm>
            <a:off x="5009184" y="4132573"/>
            <a:ext cx="1434264"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gradFill>
                  <a:gsLst>
                    <a:gs pos="0">
                      <a:srgbClr val="FFFFFF"/>
                    </a:gs>
                    <a:gs pos="100000">
                      <a:srgbClr val="FFFFFF"/>
                    </a:gs>
                  </a:gsLst>
                  <a:lin ang="5400000" scaled="0"/>
                </a:gradFill>
                <a:ea typeface="Segoe UI" pitchFamily="34" charset="0"/>
                <a:cs typeface="Segoe UI" pitchFamily="34" charset="0"/>
              </a:rPr>
              <a:t>IoT Hub (Primary)</a:t>
            </a:r>
            <a:endParaRPr lang="zh-TW" altLang="en-US" sz="137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Rounded Corners 35"/>
          <p:cNvSpPr/>
          <p:nvPr/>
        </p:nvSpPr>
        <p:spPr bwMode="auto">
          <a:xfrm>
            <a:off x="6870266" y="4126873"/>
            <a:ext cx="1434265"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gradFill>
                  <a:gsLst>
                    <a:gs pos="0">
                      <a:srgbClr val="FFFFFF"/>
                    </a:gs>
                    <a:gs pos="100000">
                      <a:srgbClr val="FFFFFF"/>
                    </a:gs>
                  </a:gsLst>
                  <a:lin ang="5400000" scaled="0"/>
                </a:gradFill>
                <a:ea typeface="Segoe UI" pitchFamily="34" charset="0"/>
                <a:cs typeface="Segoe UI" pitchFamily="34" charset="0"/>
              </a:rPr>
              <a:t>IoT Hub (Secondary)</a:t>
            </a:r>
            <a:endParaRPr lang="zh-TW" altLang="en-US" sz="1372"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Arrow Connector 43"/>
          <p:cNvCxnSpPr>
            <a:stCxn id="32" idx="3"/>
            <a:endCxn id="34" idx="1"/>
          </p:cNvCxnSpPr>
          <p:nvPr/>
        </p:nvCxnSpPr>
        <p:spPr>
          <a:xfrm flipV="1">
            <a:off x="3300496" y="4469073"/>
            <a:ext cx="1167432" cy="871178"/>
          </a:xfrm>
          <a:prstGeom prst="straightConnector1">
            <a:avLst/>
          </a:prstGeom>
          <a:ln w="28575" cap="flat" cmpd="sng" algn="ctr">
            <a:solidFill>
              <a:schemeClr val="accent3"/>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73" name="Straight Arrow Connector 72"/>
          <p:cNvCxnSpPr/>
          <p:nvPr/>
        </p:nvCxnSpPr>
        <p:spPr>
          <a:xfrm flipV="1">
            <a:off x="3351131" y="3235307"/>
            <a:ext cx="1080294" cy="1409264"/>
          </a:xfrm>
          <a:prstGeom prst="straightConnector1">
            <a:avLst/>
          </a:prstGeom>
          <a:ln w="28575" cap="flat" cmpd="sng" algn="ctr">
            <a:solidFill>
              <a:schemeClr val="accent3"/>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74" name="Rectangle: Rounded Corners 73"/>
          <p:cNvSpPr/>
          <p:nvPr/>
        </p:nvSpPr>
        <p:spPr bwMode="auto">
          <a:xfrm>
            <a:off x="9177040" y="2404561"/>
            <a:ext cx="1256741" cy="1016786"/>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solidFill>
                  <a:schemeClr val="bg2"/>
                </a:solidFill>
                <a:ea typeface="Segoe UI" pitchFamily="34" charset="0"/>
                <a:cs typeface="Segoe UI" pitchFamily="34" charset="0"/>
              </a:rPr>
              <a:t>Admin</a:t>
            </a:r>
          </a:p>
          <a:p>
            <a:pPr algn="ctr" defTabSz="914102" fontAlgn="base">
              <a:lnSpc>
                <a:spcPct val="90000"/>
              </a:lnSpc>
              <a:spcBef>
                <a:spcPct val="0"/>
              </a:spcBef>
              <a:spcAft>
                <a:spcPct val="0"/>
              </a:spcAft>
            </a:pPr>
            <a:r>
              <a:rPr lang="en-US" altLang="zh-TW" sz="1372" kern="0" dirty="0">
                <a:solidFill>
                  <a:schemeClr val="bg2"/>
                </a:solidFill>
                <a:ea typeface="Segoe UI" pitchFamily="34" charset="0"/>
                <a:cs typeface="Segoe UI" pitchFamily="34" charset="0"/>
              </a:rPr>
              <a:t>Web</a:t>
            </a:r>
            <a:endParaRPr lang="zh-TW" altLang="en-US" sz="1372" kern="0" dirty="0" err="1">
              <a:solidFill>
                <a:schemeClr val="bg2"/>
              </a:solidFill>
              <a:ea typeface="Segoe UI" pitchFamily="34" charset="0"/>
              <a:cs typeface="Segoe UI" pitchFamily="34" charset="0"/>
            </a:endParaRPr>
          </a:p>
        </p:txBody>
      </p:sp>
      <p:sp>
        <p:nvSpPr>
          <p:cNvPr id="62" name="Arrow: Right 61"/>
          <p:cNvSpPr/>
          <p:nvPr/>
        </p:nvSpPr>
        <p:spPr bwMode="auto">
          <a:xfrm rot="10800000">
            <a:off x="10552575" y="2810356"/>
            <a:ext cx="976379" cy="492369"/>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TextBox 75"/>
          <p:cNvSpPr txBox="1"/>
          <p:nvPr/>
        </p:nvSpPr>
        <p:spPr>
          <a:xfrm>
            <a:off x="10805547" y="2404561"/>
            <a:ext cx="1401645" cy="523220"/>
          </a:xfrm>
          <a:prstGeom prst="rect">
            <a:avLst/>
          </a:prstGeom>
          <a:noFill/>
        </p:spPr>
        <p:txBody>
          <a:bodyPr wrap="square">
            <a:spAutoFit/>
          </a:bodyPr>
          <a:lstStyle/>
          <a:p>
            <a:pPr defTabSz="914367">
              <a:spcAft>
                <a:spcPts val="2353"/>
              </a:spcAft>
              <a:defRPr/>
            </a:pPr>
            <a:r>
              <a:rPr lang="en-US" sz="1400" b="1" kern="0" dirty="0">
                <a:solidFill>
                  <a:schemeClr val="bg2"/>
                </a:solidFill>
                <a:latin typeface="+mj-lt"/>
              </a:rPr>
              <a:t>Device Configurations</a:t>
            </a:r>
          </a:p>
        </p:txBody>
      </p:sp>
      <p:sp>
        <p:nvSpPr>
          <p:cNvPr id="86" name="TextBox 85"/>
          <p:cNvSpPr txBox="1"/>
          <p:nvPr/>
        </p:nvSpPr>
        <p:spPr>
          <a:xfrm>
            <a:off x="244937" y="2168438"/>
            <a:ext cx="3614512" cy="646331"/>
          </a:xfrm>
          <a:prstGeom prst="rect">
            <a:avLst/>
          </a:prstGeom>
          <a:noFill/>
        </p:spPr>
        <p:txBody>
          <a:bodyPr wrap="square">
            <a:spAutoFit/>
          </a:bodyPr>
          <a:lstStyle/>
          <a:p>
            <a:pPr marL="457200" indent="-457200" defTabSz="914367">
              <a:buFont typeface="+mj-lt"/>
              <a:buAutoNum type="arabicPeriod"/>
              <a:defRPr/>
            </a:pPr>
            <a:r>
              <a:rPr lang="en-US" b="1" kern="0" dirty="0">
                <a:solidFill>
                  <a:srgbClr val="969696"/>
                </a:solidFill>
                <a:latin typeface="+mj-lt"/>
              </a:rPr>
              <a:t>Call APIs to get the Device Configurations</a:t>
            </a:r>
          </a:p>
        </p:txBody>
      </p:sp>
      <p:sp>
        <p:nvSpPr>
          <p:cNvPr id="87" name="TextBox 86"/>
          <p:cNvSpPr txBox="1"/>
          <p:nvPr/>
        </p:nvSpPr>
        <p:spPr>
          <a:xfrm>
            <a:off x="244937" y="2790888"/>
            <a:ext cx="3638815" cy="369332"/>
          </a:xfrm>
          <a:prstGeom prst="rect">
            <a:avLst/>
          </a:prstGeom>
          <a:noFill/>
        </p:spPr>
        <p:txBody>
          <a:bodyPr wrap="square">
            <a:spAutoFit/>
          </a:bodyPr>
          <a:lstStyle/>
          <a:p>
            <a:pPr marL="457200" indent="-457200" defTabSz="914367">
              <a:spcAft>
                <a:spcPts val="2353"/>
              </a:spcAft>
              <a:buFont typeface="+mj-lt"/>
              <a:buAutoNum type="arabicPeriod" startAt="2"/>
              <a:defRPr/>
            </a:pPr>
            <a:r>
              <a:rPr lang="en-US" b="1" kern="0" dirty="0">
                <a:solidFill>
                  <a:srgbClr val="969696"/>
                </a:solidFill>
                <a:latin typeface="+mj-lt"/>
              </a:rPr>
              <a:t>Send/Receive the messages</a:t>
            </a:r>
          </a:p>
        </p:txBody>
      </p:sp>
      <p:sp>
        <p:nvSpPr>
          <p:cNvPr id="103" name="TextBox 102"/>
          <p:cNvSpPr txBox="1"/>
          <p:nvPr/>
        </p:nvSpPr>
        <p:spPr>
          <a:xfrm>
            <a:off x="244937" y="3136340"/>
            <a:ext cx="3638815" cy="369332"/>
          </a:xfrm>
          <a:prstGeom prst="rect">
            <a:avLst/>
          </a:prstGeom>
          <a:noFill/>
        </p:spPr>
        <p:txBody>
          <a:bodyPr wrap="square">
            <a:spAutoFit/>
          </a:bodyPr>
          <a:lstStyle/>
          <a:p>
            <a:pPr marL="457200" indent="-457200" defTabSz="914367">
              <a:spcAft>
                <a:spcPts val="2353"/>
              </a:spcAft>
              <a:buFont typeface="+mj-lt"/>
              <a:buAutoNum type="arabicPeriod" startAt="3"/>
              <a:defRPr/>
            </a:pPr>
            <a:r>
              <a:rPr lang="en-US" b="1" kern="0" dirty="0">
                <a:solidFill>
                  <a:srgbClr val="969696"/>
                </a:solidFill>
                <a:latin typeface="+mj-lt"/>
              </a:rPr>
              <a:t>File Upload</a:t>
            </a:r>
          </a:p>
        </p:txBody>
      </p:sp>
      <p:sp>
        <p:nvSpPr>
          <p:cNvPr id="104" name="Rectangle: Rounded Corners 103"/>
          <p:cNvSpPr/>
          <p:nvPr/>
        </p:nvSpPr>
        <p:spPr bwMode="auto">
          <a:xfrm>
            <a:off x="5977890" y="5559593"/>
            <a:ext cx="1246188" cy="100598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BLOB</a:t>
            </a:r>
          </a:p>
        </p:txBody>
      </p:sp>
      <p:cxnSp>
        <p:nvCxnSpPr>
          <p:cNvPr id="140" name="Straight Arrow Connector 139"/>
          <p:cNvCxnSpPr/>
          <p:nvPr/>
        </p:nvCxnSpPr>
        <p:spPr>
          <a:xfrm flipV="1">
            <a:off x="3315811" y="5050465"/>
            <a:ext cx="1174065" cy="881460"/>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p:cNvCxnSpPr>
            <a:stCxn id="34" idx="2"/>
            <a:endCxn id="104" idx="0"/>
          </p:cNvCxnSpPr>
          <p:nvPr/>
        </p:nvCxnSpPr>
        <p:spPr>
          <a:xfrm>
            <a:off x="6600984" y="5249551"/>
            <a:ext cx="0" cy="310042"/>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53" name="TextBox 152"/>
          <p:cNvSpPr txBox="1"/>
          <p:nvPr/>
        </p:nvSpPr>
        <p:spPr>
          <a:xfrm>
            <a:off x="244937" y="1792209"/>
            <a:ext cx="5372092" cy="400110"/>
          </a:xfrm>
          <a:prstGeom prst="rect">
            <a:avLst/>
          </a:prstGeom>
          <a:noFill/>
        </p:spPr>
        <p:txBody>
          <a:bodyPr wrap="square">
            <a:spAutoFit/>
          </a:bodyPr>
          <a:lstStyle/>
          <a:p>
            <a:pPr marL="457200" indent="-457200" defTabSz="914367">
              <a:spcAft>
                <a:spcPts val="2353"/>
              </a:spcAft>
              <a:buFont typeface="Arial" panose="020B0604020202020204" pitchFamily="34" charset="0"/>
              <a:buChar char="•"/>
              <a:defRPr/>
            </a:pPr>
            <a:r>
              <a:rPr lang="en-US" sz="2000" kern="0" dirty="0">
                <a:solidFill>
                  <a:srgbClr val="969696"/>
                </a:solidFill>
                <a:latin typeface="+mj-lt"/>
              </a:rPr>
              <a:t>Device SDK</a:t>
            </a:r>
          </a:p>
        </p:txBody>
      </p:sp>
      <p:sp>
        <p:nvSpPr>
          <p:cNvPr id="154" name="TextBox 153"/>
          <p:cNvSpPr txBox="1"/>
          <p:nvPr/>
        </p:nvSpPr>
        <p:spPr>
          <a:xfrm>
            <a:off x="3821113" y="3472573"/>
            <a:ext cx="1433336" cy="333617"/>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1</a:t>
            </a:r>
          </a:p>
        </p:txBody>
      </p:sp>
      <p:sp>
        <p:nvSpPr>
          <p:cNvPr id="155" name="TextBox 154"/>
          <p:cNvSpPr txBox="1"/>
          <p:nvPr/>
        </p:nvSpPr>
        <p:spPr>
          <a:xfrm>
            <a:off x="3821113" y="4479825"/>
            <a:ext cx="1588220" cy="333617"/>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568" b="1" kern="0" dirty="0">
                <a:solidFill>
                  <a:schemeClr val="bg2"/>
                </a:solidFill>
                <a:latin typeface="+mj-lt"/>
              </a:rPr>
              <a:t>2</a:t>
            </a:r>
            <a:endParaRPr kumimoji="0" lang="en-US" sz="1568" b="1" i="0" u="none" strike="noStrike" kern="0" cap="none" spc="0" normalizeH="0" baseline="0" noProof="0" dirty="0">
              <a:ln>
                <a:noFill/>
              </a:ln>
              <a:solidFill>
                <a:schemeClr val="bg2"/>
              </a:solidFill>
              <a:effectLst/>
              <a:uLnTx/>
              <a:uFillTx/>
              <a:latin typeface="+mj-lt"/>
            </a:endParaRPr>
          </a:p>
        </p:txBody>
      </p:sp>
      <p:sp>
        <p:nvSpPr>
          <p:cNvPr id="158" name="TextBox 157"/>
          <p:cNvSpPr txBox="1"/>
          <p:nvPr/>
        </p:nvSpPr>
        <p:spPr>
          <a:xfrm>
            <a:off x="3821113" y="5085782"/>
            <a:ext cx="1588220" cy="333617"/>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568" b="1" kern="0" noProof="0" dirty="0">
                <a:solidFill>
                  <a:schemeClr val="bg2"/>
                </a:solidFill>
                <a:latin typeface="+mj-lt"/>
              </a:rPr>
              <a:t>3</a:t>
            </a:r>
            <a:endParaRPr kumimoji="0" lang="en-US" sz="1568" b="1" i="0" u="none" strike="noStrike" kern="0" cap="none" spc="0" normalizeH="0" baseline="0" noProof="0" dirty="0">
              <a:ln>
                <a:noFill/>
              </a:ln>
              <a:solidFill>
                <a:schemeClr val="bg2"/>
              </a:solidFill>
              <a:effectLst/>
              <a:uLnTx/>
              <a:uFillTx/>
              <a:latin typeface="+mj-lt"/>
            </a:endParaRPr>
          </a:p>
        </p:txBody>
      </p:sp>
      <p:sp>
        <p:nvSpPr>
          <p:cNvPr id="37" name="Rectangle: Rounded Corners 36"/>
          <p:cNvSpPr/>
          <p:nvPr/>
        </p:nvSpPr>
        <p:spPr bwMode="auto">
          <a:xfrm>
            <a:off x="9110796" y="3872042"/>
            <a:ext cx="1363598" cy="121374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solidFill>
                  <a:schemeClr val="bg2"/>
                </a:solidFill>
                <a:ea typeface="Segoe UI" pitchFamily="34" charset="0"/>
                <a:cs typeface="Segoe UI" pitchFamily="34" charset="0"/>
              </a:rPr>
              <a:t>Back-end Services</a:t>
            </a:r>
          </a:p>
          <a:p>
            <a:pPr algn="ctr" defTabSz="914102" fontAlgn="base">
              <a:lnSpc>
                <a:spcPct val="90000"/>
              </a:lnSpc>
              <a:spcBef>
                <a:spcPct val="0"/>
              </a:spcBef>
              <a:spcAft>
                <a:spcPct val="0"/>
              </a:spcAft>
            </a:pPr>
            <a:r>
              <a:rPr lang="en-US" altLang="zh-TW" sz="1372" kern="0" dirty="0">
                <a:solidFill>
                  <a:schemeClr val="bg2"/>
                </a:solidFill>
                <a:ea typeface="Segoe UI" pitchFamily="34" charset="0"/>
                <a:cs typeface="Segoe UI" pitchFamily="34" charset="0"/>
              </a:rPr>
              <a:t>(IoT Hub Receiver) </a:t>
            </a:r>
            <a:endParaRPr lang="zh-TW" altLang="en-US" sz="1372" kern="0" dirty="0" err="1">
              <a:solidFill>
                <a:schemeClr val="bg2"/>
              </a:solidFill>
              <a:ea typeface="Segoe UI" pitchFamily="34" charset="0"/>
              <a:cs typeface="Segoe UI" pitchFamily="34" charset="0"/>
            </a:endParaRPr>
          </a:p>
        </p:txBody>
      </p:sp>
      <p:pic>
        <p:nvPicPr>
          <p:cNvPr id="5" name="Picture 4"/>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1055136" y="1644401"/>
            <a:ext cx="780290" cy="780290"/>
          </a:xfrm>
          <a:prstGeom prst="rect">
            <a:avLst/>
          </a:prstGeom>
        </p:spPr>
      </p:pic>
      <p:sp>
        <p:nvSpPr>
          <p:cNvPr id="40" name="Rectangle: Rounded Corners 39"/>
          <p:cNvSpPr/>
          <p:nvPr/>
        </p:nvSpPr>
        <p:spPr bwMode="auto">
          <a:xfrm>
            <a:off x="9110796" y="5562953"/>
            <a:ext cx="1363598" cy="100262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pPr>
            <a:r>
              <a:rPr lang="en-US" altLang="zh-TW" sz="1372" kern="0" dirty="0">
                <a:gradFill>
                  <a:gsLst>
                    <a:gs pos="0">
                      <a:srgbClr val="FFFFFF"/>
                    </a:gs>
                    <a:gs pos="100000">
                      <a:srgbClr val="FFFFFF"/>
                    </a:gs>
                  </a:gsLst>
                  <a:lin ang="5400000" scaled="0"/>
                </a:gradFill>
                <a:ea typeface="Segoe UI" pitchFamily="34" charset="0"/>
                <a:cs typeface="Segoe UI" pitchFamily="34" charset="0"/>
              </a:rPr>
              <a:t>Cosmos DB</a:t>
            </a:r>
          </a:p>
        </p:txBody>
      </p:sp>
      <p:cxnSp>
        <p:nvCxnSpPr>
          <p:cNvPr id="45" name="Straight Arrow Connector 44"/>
          <p:cNvCxnSpPr>
            <a:stCxn id="40" idx="0"/>
            <a:endCxn id="37" idx="2"/>
          </p:cNvCxnSpPr>
          <p:nvPr/>
        </p:nvCxnSpPr>
        <p:spPr>
          <a:xfrm flipV="1">
            <a:off x="9792595" y="5085782"/>
            <a:ext cx="0" cy="477171"/>
          </a:xfrm>
          <a:prstGeom prst="straightConnector1">
            <a:avLst/>
          </a:prstGeom>
          <a:ln w="38100"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0" name="Straight Arrow Connector 49"/>
          <p:cNvCxnSpPr>
            <a:stCxn id="34" idx="3"/>
            <a:endCxn id="37" idx="1"/>
          </p:cNvCxnSpPr>
          <p:nvPr/>
        </p:nvCxnSpPr>
        <p:spPr>
          <a:xfrm>
            <a:off x="8734040" y="4469073"/>
            <a:ext cx="376756" cy="9839"/>
          </a:xfrm>
          <a:prstGeom prst="straightConnector1">
            <a:avLst/>
          </a:prstGeom>
          <a:ln w="38100"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704459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0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4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6" grpId="0" animBg="1"/>
      <p:bldP spid="29" grpId="0" animBg="1"/>
      <p:bldP spid="32" grpId="0" animBg="1"/>
      <p:bldP spid="34" grpId="0" animBg="1"/>
      <p:bldP spid="35" grpId="0" animBg="1"/>
      <p:bldP spid="36" grpId="0" animBg="1"/>
      <p:bldP spid="62" grpId="0" animBg="1"/>
      <p:bldP spid="76" grpId="0"/>
      <p:bldP spid="86" grpId="0"/>
      <p:bldP spid="87" grpId="0"/>
      <p:bldP spid="103" grpId="0"/>
      <p:bldP spid="104" grpId="0" animBg="1"/>
      <p:bldP spid="153" grpId="0"/>
      <p:bldP spid="154" grpId="0"/>
      <p:bldP spid="155" grpId="0"/>
      <p:bldP spid="158" grpId="0"/>
      <p:bldP spid="37" grpId="0" animBg="1"/>
      <p:bldP spid="4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noProof="0" dirty="0">
                <a:ln w="3175">
                  <a:noFill/>
                </a:ln>
                <a:solidFill>
                  <a:srgbClr val="FFFFFF"/>
                </a:solidFill>
                <a:effectLst/>
                <a:uLnTx/>
                <a:uFillTx/>
                <a:latin typeface="+mj-lt"/>
                <a:ea typeface="+mn-ea"/>
                <a:cs typeface="Segoe UI" pitchFamily="34" charset="0"/>
              </a:rPr>
              <a:t>1. Call APIs to get Device Configurations</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7" name="TextBox 6"/>
          <p:cNvSpPr txBox="1"/>
          <p:nvPr/>
        </p:nvSpPr>
        <p:spPr>
          <a:xfrm>
            <a:off x="244937" y="1510321"/>
            <a:ext cx="5056344" cy="1734770"/>
          </a:xfrm>
          <a:prstGeom prst="rect">
            <a:avLst/>
          </a:prstGeom>
          <a:noFill/>
        </p:spPr>
        <p:txBody>
          <a:bodyPr wrap="square">
            <a:spAutoFit/>
          </a:bodyPr>
          <a:lstStyle/>
          <a:p>
            <a:pPr marL="280121" marR="0" lvl="0" indent="-280121" defTabSz="914367"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969696"/>
                </a:solidFill>
                <a:effectLst/>
                <a:uLnTx/>
                <a:uFillTx/>
                <a:latin typeface="+mj-lt"/>
              </a:rPr>
              <a:t>Create</a:t>
            </a:r>
            <a:r>
              <a:rPr kumimoji="0" lang="en-US" sz="2000" b="0" i="0" u="none" strike="noStrike" kern="0" cap="none" spc="0" normalizeH="0" noProof="0" dirty="0">
                <a:ln>
                  <a:noFill/>
                </a:ln>
                <a:solidFill>
                  <a:srgbClr val="969696"/>
                </a:solidFill>
                <a:effectLst/>
                <a:uLnTx/>
                <a:uFillTx/>
                <a:latin typeface="+mj-lt"/>
              </a:rPr>
              <a:t> the </a:t>
            </a:r>
            <a:r>
              <a:rPr kumimoji="0" lang="en-US" sz="2000" b="0" i="0" u="none" strike="noStrike" kern="0" cap="none" spc="0" normalizeH="0" noProof="0" dirty="0" err="1">
                <a:ln>
                  <a:noFill/>
                </a:ln>
                <a:solidFill>
                  <a:srgbClr val="969696"/>
                </a:solidFill>
                <a:effectLst/>
                <a:uLnTx/>
                <a:uFillTx/>
                <a:latin typeface="+mj-lt"/>
              </a:rPr>
              <a:t>SfDeviceClient</a:t>
            </a:r>
            <a:r>
              <a:rPr kumimoji="0" lang="en-US" sz="2000" b="0" i="0" u="none" strike="noStrike" kern="0" cap="none" spc="0" normalizeH="0" noProof="0" dirty="0">
                <a:ln>
                  <a:noFill/>
                </a:ln>
                <a:solidFill>
                  <a:srgbClr val="969696"/>
                </a:solidFill>
                <a:effectLst/>
                <a:uLnTx/>
                <a:uFillTx/>
                <a:latin typeface="+mj-lt"/>
              </a:rPr>
              <a:t> from app settings</a:t>
            </a:r>
          </a:p>
          <a:p>
            <a:pPr marL="737321" lvl="1" indent="-280121" defTabSz="914367">
              <a:lnSpc>
                <a:spcPts val="1600"/>
              </a:lnSpc>
              <a:spcAft>
                <a:spcPts val="2353"/>
              </a:spcAft>
              <a:buFont typeface="Arial" panose="020B0604020202020204" pitchFamily="34" charset="0"/>
              <a:buChar char="•"/>
              <a:defRPr/>
            </a:pPr>
            <a:r>
              <a:rPr lang="en-US" kern="0" dirty="0">
                <a:solidFill>
                  <a:srgbClr val="969696"/>
                </a:solidFill>
              </a:rPr>
              <a:t>Device ID &amp; PW</a:t>
            </a:r>
          </a:p>
          <a:p>
            <a:pPr marL="737321" lvl="1" indent="-280121" defTabSz="914367">
              <a:lnSpc>
                <a:spcPts val="1600"/>
              </a:lnSpc>
              <a:spcAft>
                <a:spcPts val="2353"/>
              </a:spcAft>
              <a:buFont typeface="Arial" panose="020B0604020202020204" pitchFamily="34" charset="0"/>
              <a:buChar char="•"/>
              <a:defRPr/>
            </a:pPr>
            <a:r>
              <a:rPr kumimoji="0" lang="en-US" b="0" i="0" u="none" strike="noStrike" kern="0" cap="none" spc="0" normalizeH="0" noProof="0" dirty="0">
                <a:ln>
                  <a:noFill/>
                </a:ln>
                <a:solidFill>
                  <a:srgbClr val="969696"/>
                </a:solidFill>
                <a:effectLst/>
                <a:uLnTx/>
                <a:uFillTx/>
              </a:rPr>
              <a:t>X.509 Certificate (Optional)</a:t>
            </a:r>
          </a:p>
        </p:txBody>
      </p:sp>
      <p:sp>
        <p:nvSpPr>
          <p:cNvPr id="2" name="Rectangle: Rounded Corners 1"/>
          <p:cNvSpPr/>
          <p:nvPr/>
        </p:nvSpPr>
        <p:spPr bwMode="auto">
          <a:xfrm>
            <a:off x="9298849" y="1892403"/>
            <a:ext cx="2438400" cy="4891574"/>
          </a:xfrm>
          <a:prstGeom prst="roundRect">
            <a:avLst/>
          </a:prstGeom>
          <a:solidFill>
            <a:srgbClr val="BAD80A"/>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9555799" y="1563545"/>
            <a:ext cx="1097281" cy="336278"/>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Azure</a:t>
            </a:r>
          </a:p>
        </p:txBody>
      </p:sp>
      <p:sp>
        <p:nvSpPr>
          <p:cNvPr id="49" name="Rectangle: Rounded Corners 48"/>
          <p:cNvSpPr/>
          <p:nvPr/>
        </p:nvSpPr>
        <p:spPr bwMode="auto">
          <a:xfrm>
            <a:off x="5225081" y="1892652"/>
            <a:ext cx="2402835" cy="4891574"/>
          </a:xfrm>
          <a:prstGeom prst="round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TextBox 52"/>
          <p:cNvSpPr txBox="1"/>
          <p:nvPr/>
        </p:nvSpPr>
        <p:spPr>
          <a:xfrm>
            <a:off x="5552130" y="1567924"/>
            <a:ext cx="1756621" cy="331899"/>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IoT Device</a:t>
            </a:r>
          </a:p>
        </p:txBody>
      </p:sp>
      <p:sp>
        <p:nvSpPr>
          <p:cNvPr id="29" name="Rectangle: Rounded Corners 28"/>
          <p:cNvSpPr/>
          <p:nvPr/>
        </p:nvSpPr>
        <p:spPr bwMode="auto">
          <a:xfrm>
            <a:off x="9584374" y="2089150"/>
            <a:ext cx="1877473" cy="4520657"/>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solidFill>
                  <a:schemeClr val="bg2"/>
                </a:solidFill>
                <a:effectLst/>
                <a:uLnTx/>
                <a:uFillTx/>
                <a:ea typeface="Segoe UI" pitchFamily="34" charset="0"/>
                <a:cs typeface="Segoe UI" pitchFamily="34" charset="0"/>
              </a:rPr>
              <a:t>API Services </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32" name="Rectangle: Rounded Corners 31"/>
          <p:cNvSpPr/>
          <p:nvPr/>
        </p:nvSpPr>
        <p:spPr bwMode="auto">
          <a:xfrm>
            <a:off x="5424556" y="3857626"/>
            <a:ext cx="2011771" cy="2752430"/>
          </a:xfrm>
          <a:prstGeom prst="round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Node.js </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evice SDK</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73" name="Straight Arrow Connector 72"/>
          <p:cNvCxnSpPr/>
          <p:nvPr/>
        </p:nvCxnSpPr>
        <p:spPr>
          <a:xfrm flipV="1">
            <a:off x="7512527" y="2936352"/>
            <a:ext cx="2043272" cy="1251025"/>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Rectangle: Rounded Corners 29"/>
          <p:cNvSpPr/>
          <p:nvPr/>
        </p:nvSpPr>
        <p:spPr bwMode="auto">
          <a:xfrm>
            <a:off x="5424556" y="2455026"/>
            <a:ext cx="2011771" cy="1050173"/>
          </a:xfrm>
          <a:prstGeom prst="round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reate the </a:t>
            </a:r>
            <a:r>
              <a:rPr kumimoji="0" lang="en-US" altLang="zh-TW"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SfDeviceClient</a:t>
            </a:r>
            <a:endPar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7" name="Straight Arrow Connector 36"/>
          <p:cNvCxnSpPr>
            <a:stCxn id="32" idx="0"/>
            <a:endCxn id="30" idx="2"/>
          </p:cNvCxnSpPr>
          <p:nvPr/>
        </p:nvCxnSpPr>
        <p:spPr>
          <a:xfrm flipV="1">
            <a:off x="6430442" y="3505199"/>
            <a:ext cx="0" cy="352427"/>
          </a:xfrm>
          <a:prstGeom prst="straightConnector1">
            <a:avLst/>
          </a:prstGeom>
          <a:ln w="28575" cap="flat" cmpd="sng" algn="ctr">
            <a:solidFill>
              <a:schemeClr val="accent3"/>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51" name="TextBox 50"/>
          <p:cNvSpPr txBox="1"/>
          <p:nvPr/>
        </p:nvSpPr>
        <p:spPr>
          <a:xfrm>
            <a:off x="7587131" y="2883287"/>
            <a:ext cx="1433336" cy="574901"/>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1. Get</a:t>
            </a:r>
            <a:r>
              <a:rPr kumimoji="0" lang="zh-TW" altLang="en-US" sz="1568" b="1" i="0" u="none" strike="noStrike" kern="0" cap="none" spc="0" normalizeH="0" baseline="0" noProof="0" dirty="0">
                <a:ln>
                  <a:noFill/>
                </a:ln>
                <a:solidFill>
                  <a:schemeClr val="bg2"/>
                </a:solidFill>
                <a:effectLst/>
                <a:uLnTx/>
                <a:uFillTx/>
                <a:latin typeface="+mj-lt"/>
              </a:rPr>
              <a:t> </a:t>
            </a:r>
            <a:r>
              <a:rPr kumimoji="0" lang="en-US" altLang="zh-TW" sz="1568" b="1" i="0" u="none" strike="noStrike" kern="0" cap="none" spc="0" normalizeH="0" baseline="0" noProof="0" dirty="0">
                <a:ln>
                  <a:noFill/>
                </a:ln>
                <a:solidFill>
                  <a:schemeClr val="bg2"/>
                </a:solidFill>
                <a:effectLst/>
                <a:uLnTx/>
                <a:uFillTx/>
                <a:latin typeface="+mj-lt"/>
              </a:rPr>
              <a:t>Token by ID and PW</a:t>
            </a:r>
            <a:endParaRPr kumimoji="0" lang="en-US" sz="1568" b="1" i="0" u="none" strike="noStrike" kern="0" cap="none" spc="0" normalizeH="0" baseline="0" noProof="0" dirty="0">
              <a:ln>
                <a:noFill/>
              </a:ln>
              <a:solidFill>
                <a:schemeClr val="bg2"/>
              </a:solidFill>
              <a:effectLst/>
              <a:uLnTx/>
              <a:uFillTx/>
              <a:latin typeface="+mj-lt"/>
            </a:endParaRPr>
          </a:p>
        </p:txBody>
      </p:sp>
      <p:cxnSp>
        <p:nvCxnSpPr>
          <p:cNvPr id="54" name="Straight Arrow Connector 53"/>
          <p:cNvCxnSpPr/>
          <p:nvPr/>
        </p:nvCxnSpPr>
        <p:spPr>
          <a:xfrm flipV="1">
            <a:off x="7512527" y="3133621"/>
            <a:ext cx="2043272" cy="1281354"/>
          </a:xfrm>
          <a:prstGeom prst="straightConnector1">
            <a:avLst/>
          </a:prstGeom>
          <a:ln w="28575" cap="flat" cmpd="sng" algn="ctr">
            <a:solidFill>
              <a:schemeClr val="accent3"/>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pic>
        <p:nvPicPr>
          <p:cNvPr id="31" name="Picture 30"/>
          <p:cNvPicPr>
            <a:picLocks noChangeAspect="1"/>
          </p:cNvPicPr>
          <p:nvPr/>
        </p:nvPicPr>
        <p:blipFill>
          <a:blip r:embed="rId3"/>
          <a:stretch>
            <a:fillRect/>
          </a:stretch>
        </p:blipFill>
        <p:spPr>
          <a:xfrm>
            <a:off x="1265751" y="5196681"/>
            <a:ext cx="2922606" cy="1164592"/>
          </a:xfrm>
          <a:prstGeom prst="rect">
            <a:avLst/>
          </a:prstGeom>
        </p:spPr>
      </p:pic>
      <p:cxnSp>
        <p:nvCxnSpPr>
          <p:cNvPr id="63" name="Straight Arrow Connector 62"/>
          <p:cNvCxnSpPr/>
          <p:nvPr/>
        </p:nvCxnSpPr>
        <p:spPr>
          <a:xfrm flipV="1">
            <a:off x="7541102" y="3936804"/>
            <a:ext cx="2028984" cy="1262979"/>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4" name="Straight Arrow Connector 63"/>
          <p:cNvCxnSpPr/>
          <p:nvPr/>
        </p:nvCxnSpPr>
        <p:spPr>
          <a:xfrm flipV="1">
            <a:off x="7526814" y="4212731"/>
            <a:ext cx="2028985" cy="1296233"/>
          </a:xfrm>
          <a:prstGeom prst="straightConnector1">
            <a:avLst/>
          </a:prstGeom>
          <a:ln w="28575" cap="flat" cmpd="sng" algn="ctr">
            <a:solidFill>
              <a:schemeClr val="accent3"/>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65" name="TextBox 64"/>
          <p:cNvSpPr txBox="1"/>
          <p:nvPr/>
        </p:nvSpPr>
        <p:spPr>
          <a:xfrm>
            <a:off x="7587131" y="4357403"/>
            <a:ext cx="1503417" cy="574901"/>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lang="en-US" sz="1568" b="1" kern="0" dirty="0">
                <a:solidFill>
                  <a:schemeClr val="bg2"/>
                </a:solidFill>
                <a:latin typeface="+mj-lt"/>
              </a:rPr>
              <a:t>2</a:t>
            </a:r>
            <a:r>
              <a:rPr kumimoji="0" lang="en-US" sz="1568" b="1" i="0" u="none" strike="noStrike" kern="0" cap="none" spc="0" normalizeH="0" baseline="0" noProof="0" dirty="0">
                <a:ln>
                  <a:noFill/>
                </a:ln>
                <a:solidFill>
                  <a:schemeClr val="bg2"/>
                </a:solidFill>
                <a:effectLst/>
                <a:uLnTx/>
                <a:uFillTx/>
                <a:latin typeface="+mj-lt"/>
              </a:rPr>
              <a:t>. Get</a:t>
            </a:r>
            <a:r>
              <a:rPr kumimoji="0" lang="zh-TW" altLang="en-US" sz="1568" b="1" i="0" u="none" strike="noStrike" kern="0" cap="none" spc="0" normalizeH="0" baseline="0" noProof="0" dirty="0">
                <a:ln>
                  <a:noFill/>
                </a:ln>
                <a:solidFill>
                  <a:schemeClr val="bg2"/>
                </a:solidFill>
                <a:effectLst/>
                <a:uLnTx/>
                <a:uFillTx/>
                <a:latin typeface="+mj-lt"/>
              </a:rPr>
              <a:t> </a:t>
            </a:r>
            <a:r>
              <a:rPr kumimoji="0" lang="en-US" altLang="zh-TW" sz="1568" b="1" i="0" u="none" strike="noStrike" kern="0" cap="none" spc="0" normalizeH="0" baseline="0" noProof="0" dirty="0">
                <a:ln>
                  <a:noFill/>
                </a:ln>
                <a:solidFill>
                  <a:schemeClr val="bg2"/>
                </a:solidFill>
                <a:effectLst/>
                <a:uLnTx/>
                <a:uFillTx/>
                <a:latin typeface="+mj-lt"/>
              </a:rPr>
              <a:t>the device model</a:t>
            </a:r>
            <a:endParaRPr kumimoji="0" lang="en-US" sz="1568" b="1" i="0" u="none" strike="noStrike" kern="0" cap="none" spc="0" normalizeH="0" baseline="0" noProof="0" dirty="0">
              <a:ln>
                <a:noFill/>
              </a:ln>
              <a:solidFill>
                <a:schemeClr val="bg2"/>
              </a:solidFill>
              <a:effectLst/>
              <a:uLnTx/>
              <a:uFillTx/>
              <a:latin typeface="+mj-lt"/>
            </a:endParaRPr>
          </a:p>
        </p:txBody>
      </p:sp>
      <p:cxnSp>
        <p:nvCxnSpPr>
          <p:cNvPr id="67" name="Straight Arrow Connector 66"/>
          <p:cNvCxnSpPr/>
          <p:nvPr/>
        </p:nvCxnSpPr>
        <p:spPr>
          <a:xfrm flipV="1">
            <a:off x="7548245" y="6218096"/>
            <a:ext cx="2007554" cy="7711"/>
          </a:xfrm>
          <a:prstGeom prst="straightConnector1">
            <a:avLst/>
          </a:prstGeom>
          <a:ln w="2857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8" name="Straight Arrow Connector 67"/>
          <p:cNvCxnSpPr/>
          <p:nvPr/>
        </p:nvCxnSpPr>
        <p:spPr>
          <a:xfrm flipV="1">
            <a:off x="7512527" y="6362700"/>
            <a:ext cx="2043272" cy="9142"/>
          </a:xfrm>
          <a:prstGeom prst="straightConnector1">
            <a:avLst/>
          </a:prstGeom>
          <a:ln w="28575" cap="flat" cmpd="sng" algn="ctr">
            <a:solidFill>
              <a:schemeClr val="accent3"/>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69" name="TextBox 68"/>
          <p:cNvSpPr txBox="1"/>
          <p:nvPr/>
        </p:nvSpPr>
        <p:spPr>
          <a:xfrm>
            <a:off x="7627916" y="5662865"/>
            <a:ext cx="1813803" cy="574901"/>
          </a:xfrm>
          <a:prstGeom prst="rect">
            <a:avLst/>
          </a:prstGeom>
          <a:noFill/>
        </p:spPr>
        <p:txBody>
          <a:bodyPr wrap="square">
            <a:spAutoFit/>
          </a:bodyPr>
          <a:lstStyle/>
          <a:p>
            <a:pPr marR="0" lvl="0" defTabSz="914367" eaLnBrk="1" fontAlgn="auto" latinLnBrk="0" hangingPunct="1">
              <a:lnSpc>
                <a:spcPct val="100000"/>
              </a:lnSpc>
              <a:spcBef>
                <a:spcPts val="0"/>
              </a:spcBef>
              <a:spcAft>
                <a:spcPts val="2353"/>
              </a:spcAft>
              <a:buClrTx/>
              <a:buSzTx/>
              <a:tabLst/>
              <a:defRPr/>
            </a:pPr>
            <a:r>
              <a:rPr lang="en-US" sz="1568" b="1" kern="0" noProof="0" dirty="0">
                <a:solidFill>
                  <a:schemeClr val="bg2"/>
                </a:solidFill>
                <a:latin typeface="+mj-lt"/>
              </a:rPr>
              <a:t>3. </a:t>
            </a:r>
            <a:r>
              <a:rPr kumimoji="0" lang="en-US" sz="1568" b="1" i="0" u="none" strike="noStrike" kern="0" cap="none" spc="0" normalizeH="0" baseline="0" noProof="0" dirty="0">
                <a:ln>
                  <a:noFill/>
                </a:ln>
                <a:solidFill>
                  <a:schemeClr val="bg2"/>
                </a:solidFill>
                <a:effectLst/>
                <a:uLnTx/>
                <a:uFillTx/>
                <a:latin typeface="+mj-lt"/>
              </a:rPr>
              <a:t>Get</a:t>
            </a:r>
            <a:r>
              <a:rPr kumimoji="0" lang="zh-TW" altLang="en-US" sz="1568" b="1" i="0" u="none" strike="noStrike" kern="0" cap="none" spc="0" normalizeH="0" baseline="0" noProof="0" dirty="0">
                <a:ln>
                  <a:noFill/>
                </a:ln>
                <a:solidFill>
                  <a:schemeClr val="bg2"/>
                </a:solidFill>
                <a:effectLst/>
                <a:uLnTx/>
                <a:uFillTx/>
                <a:latin typeface="+mj-lt"/>
              </a:rPr>
              <a:t> </a:t>
            </a:r>
            <a:r>
              <a:rPr kumimoji="0" lang="en-US" altLang="zh-TW" sz="1568" b="1" i="0" u="none" strike="noStrike" kern="0" cap="none" spc="0" normalizeH="0" baseline="0" noProof="0" dirty="0">
                <a:ln>
                  <a:noFill/>
                </a:ln>
                <a:solidFill>
                  <a:schemeClr val="bg2"/>
                </a:solidFill>
                <a:effectLst/>
                <a:uLnTx/>
                <a:uFillTx/>
                <a:latin typeface="+mj-lt"/>
              </a:rPr>
              <a:t>the message schema</a:t>
            </a:r>
            <a:r>
              <a:rPr kumimoji="0" lang="en-US" altLang="zh-TW" sz="1568" b="1" i="0" u="none" strike="noStrike" kern="0" cap="none" spc="0" normalizeH="0" noProof="0" dirty="0">
                <a:ln>
                  <a:noFill/>
                </a:ln>
                <a:solidFill>
                  <a:schemeClr val="bg2"/>
                </a:solidFill>
                <a:effectLst/>
                <a:uLnTx/>
                <a:uFillTx/>
                <a:latin typeface="+mj-lt"/>
              </a:rPr>
              <a:t> list</a:t>
            </a:r>
            <a:endParaRPr kumimoji="0" lang="en-US" sz="1568" b="1" i="0" u="none" strike="noStrike" kern="0" cap="none" spc="0" normalizeH="0" baseline="0" noProof="0" dirty="0">
              <a:ln>
                <a:noFill/>
              </a:ln>
              <a:solidFill>
                <a:schemeClr val="bg2"/>
              </a:solidFill>
              <a:effectLst/>
              <a:uLnTx/>
              <a:uFillTx/>
              <a:latin typeface="+mj-lt"/>
            </a:endParaRPr>
          </a:p>
        </p:txBody>
      </p:sp>
      <p:sp>
        <p:nvSpPr>
          <p:cNvPr id="79" name="TextBox 78"/>
          <p:cNvSpPr txBox="1"/>
          <p:nvPr/>
        </p:nvSpPr>
        <p:spPr>
          <a:xfrm>
            <a:off x="269121" y="3260722"/>
            <a:ext cx="5056344" cy="400110"/>
          </a:xfrm>
          <a:prstGeom prst="rect">
            <a:avLst/>
          </a:prstGeom>
          <a:noFill/>
        </p:spPr>
        <p:txBody>
          <a:bodyPr wrap="square">
            <a:spAutoFit/>
          </a:bodyPr>
          <a:lstStyle/>
          <a:p>
            <a:pPr marL="280121" marR="0" lvl="0" indent="-280121" defTabSz="914367"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969696"/>
                </a:solidFill>
                <a:effectLst/>
                <a:uLnTx/>
                <a:uFillTx/>
                <a:latin typeface="+mj-lt"/>
              </a:rPr>
              <a:t>Initial method</a:t>
            </a:r>
            <a:endParaRPr kumimoji="0" lang="en-US" b="0" i="0" u="none" strike="noStrike" kern="0" cap="none" spc="0" normalizeH="0" noProof="0" dirty="0">
              <a:ln>
                <a:noFill/>
              </a:ln>
              <a:solidFill>
                <a:srgbClr val="969696"/>
              </a:solidFill>
              <a:effectLst/>
              <a:uLnTx/>
              <a:uFillTx/>
            </a:endParaRPr>
          </a:p>
        </p:txBody>
      </p:sp>
      <p:sp>
        <p:nvSpPr>
          <p:cNvPr id="80" name="TextBox 79"/>
          <p:cNvSpPr txBox="1"/>
          <p:nvPr/>
        </p:nvSpPr>
        <p:spPr>
          <a:xfrm>
            <a:off x="229027" y="3803890"/>
            <a:ext cx="5056344" cy="298480"/>
          </a:xfrm>
          <a:prstGeom prst="rect">
            <a:avLst/>
          </a:prstGeom>
          <a:noFill/>
        </p:spPr>
        <p:txBody>
          <a:bodyPr wrap="square">
            <a:spAutoFit/>
          </a:bodyPr>
          <a:lstStyle/>
          <a:p>
            <a:pPr marL="800100" lvl="1" indent="-342900" defTabSz="914367">
              <a:lnSpc>
                <a:spcPts val="1600"/>
              </a:lnSpc>
              <a:spcAft>
                <a:spcPts val="2353"/>
              </a:spcAft>
              <a:buFont typeface="+mj-lt"/>
              <a:buAutoNum type="arabicPeriod"/>
              <a:defRPr/>
            </a:pPr>
            <a:r>
              <a:rPr lang="en-US" kern="0" dirty="0">
                <a:solidFill>
                  <a:srgbClr val="969696"/>
                </a:solidFill>
              </a:rPr>
              <a:t>Get Token if it was expired or invalid.</a:t>
            </a:r>
          </a:p>
        </p:txBody>
      </p:sp>
      <p:sp>
        <p:nvSpPr>
          <p:cNvPr id="82" name="TextBox 81"/>
          <p:cNvSpPr txBox="1"/>
          <p:nvPr/>
        </p:nvSpPr>
        <p:spPr>
          <a:xfrm>
            <a:off x="229027" y="4853796"/>
            <a:ext cx="5056344" cy="298480"/>
          </a:xfrm>
          <a:prstGeom prst="rect">
            <a:avLst/>
          </a:prstGeom>
          <a:noFill/>
        </p:spPr>
        <p:txBody>
          <a:bodyPr wrap="square">
            <a:spAutoFit/>
          </a:bodyPr>
          <a:lstStyle/>
          <a:p>
            <a:pPr marL="800100" lvl="1" indent="-342900" defTabSz="914367">
              <a:lnSpc>
                <a:spcPts val="1600"/>
              </a:lnSpc>
              <a:spcAft>
                <a:spcPts val="2353"/>
              </a:spcAft>
              <a:buFont typeface="+mj-lt"/>
              <a:buAutoNum type="arabicPeriod" startAt="3"/>
              <a:defRPr/>
            </a:pPr>
            <a:r>
              <a:rPr kumimoji="0" lang="en-US" b="0" i="0" u="none" strike="noStrike" kern="0" cap="none" spc="0" normalizeH="0" noProof="0" dirty="0">
                <a:ln>
                  <a:noFill/>
                </a:ln>
                <a:solidFill>
                  <a:srgbClr val="969696"/>
                </a:solidFill>
                <a:effectLst/>
                <a:uLnTx/>
                <a:uFillTx/>
              </a:rPr>
              <a:t>Get the message schema list</a:t>
            </a:r>
          </a:p>
        </p:txBody>
      </p:sp>
      <p:sp>
        <p:nvSpPr>
          <p:cNvPr id="83" name="TextBox 82"/>
          <p:cNvSpPr txBox="1"/>
          <p:nvPr/>
        </p:nvSpPr>
        <p:spPr>
          <a:xfrm>
            <a:off x="229027" y="4328843"/>
            <a:ext cx="5056344" cy="298480"/>
          </a:xfrm>
          <a:prstGeom prst="rect">
            <a:avLst/>
          </a:prstGeom>
          <a:noFill/>
        </p:spPr>
        <p:txBody>
          <a:bodyPr wrap="square">
            <a:spAutoFit/>
          </a:bodyPr>
          <a:lstStyle/>
          <a:p>
            <a:pPr marL="800100" lvl="1" indent="-342900" defTabSz="914367">
              <a:lnSpc>
                <a:spcPts val="1600"/>
              </a:lnSpc>
              <a:spcAft>
                <a:spcPts val="2353"/>
              </a:spcAft>
              <a:buFont typeface="+mj-lt"/>
              <a:buAutoNum type="arabicPeriod" startAt="2"/>
              <a:defRPr/>
            </a:pPr>
            <a:r>
              <a:rPr lang="en-US" kern="0" dirty="0">
                <a:solidFill>
                  <a:srgbClr val="969696"/>
                </a:solidFill>
              </a:rPr>
              <a:t>Get the device model</a:t>
            </a:r>
          </a:p>
        </p:txBody>
      </p:sp>
      <p:pic>
        <p:nvPicPr>
          <p:cNvPr id="28" name="Picture 27"/>
          <p:cNvPicPr>
            <a:picLocks noChangeAspect="1"/>
          </p:cNvPicPr>
          <p:nvPr/>
        </p:nvPicPr>
        <p:blipFill>
          <a:blip r:embed="rId4"/>
          <a:stretch>
            <a:fillRect/>
          </a:stretch>
        </p:blipFill>
        <p:spPr>
          <a:xfrm>
            <a:off x="9365951" y="4110974"/>
            <a:ext cx="2758963" cy="1644040"/>
          </a:xfrm>
          <a:prstGeom prst="rect">
            <a:avLst/>
          </a:prstGeom>
        </p:spPr>
      </p:pic>
      <p:sp>
        <p:nvSpPr>
          <p:cNvPr id="88" name="TextBox 87"/>
          <p:cNvSpPr txBox="1"/>
          <p:nvPr/>
        </p:nvSpPr>
        <p:spPr>
          <a:xfrm>
            <a:off x="6506644" y="3496310"/>
            <a:ext cx="929684" cy="333617"/>
          </a:xfrm>
          <a:prstGeom prst="rect">
            <a:avLst/>
          </a:prstGeom>
          <a:noFill/>
        </p:spPr>
        <p:txBody>
          <a:bodyPr wrap="square">
            <a:spAutoFit/>
          </a:bodyPr>
          <a:lstStyle/>
          <a:p>
            <a:pPr lvl="0" defTabSz="914367">
              <a:spcAft>
                <a:spcPts val="2353"/>
              </a:spcAft>
              <a:defRPr/>
            </a:pPr>
            <a:r>
              <a:rPr lang="en-US" sz="1568" b="1" kern="0" dirty="0">
                <a:latin typeface="+mj-lt"/>
              </a:rPr>
              <a:t>initial()</a:t>
            </a:r>
          </a:p>
        </p:txBody>
      </p:sp>
    </p:spTree>
    <p:extLst>
      <p:ext uri="{BB962C8B-B14F-4D97-AF65-F5344CB8AC3E}">
        <p14:creationId xmlns:p14="http://schemas.microsoft.com/office/powerpoint/2010/main" val="4222809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8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0" grpId="0" animBg="1"/>
      <p:bldP spid="51" grpId="0"/>
      <p:bldP spid="65" grpId="0"/>
      <p:bldP spid="69" grpId="0"/>
      <p:bldP spid="79" grpId="0"/>
      <p:bldP spid="80" grpId="0"/>
      <p:bldP spid="82" grpId="0"/>
      <p:bldP spid="83" grpId="0"/>
      <p:bldP spid="8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Device Model</a:t>
            </a:r>
            <a:endParaRPr lang="zh-TW" altLang="en-US" dirty="0"/>
          </a:p>
        </p:txBody>
      </p:sp>
      <p:sp>
        <p:nvSpPr>
          <p:cNvPr id="30" name="Content Placeholder 4"/>
          <p:cNvSpPr txBox="1">
            <a:spLocks/>
          </p:cNvSpPr>
          <p:nvPr/>
        </p:nvSpPr>
        <p:spPr>
          <a:xfrm>
            <a:off x="484553" y="4426514"/>
            <a:ext cx="11261970" cy="2130594"/>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buFont typeface="Wingdings" panose="05000000000000000000" pitchFamily="2" charset="2"/>
              <a:buChar char="l"/>
              <a:defRPr/>
            </a:pPr>
            <a:r>
              <a:rPr lang="en-US" altLang="zh-TW" sz="2000" dirty="0"/>
              <a:t>Security Key</a:t>
            </a:r>
          </a:p>
          <a:p>
            <a:pPr marL="0" lvl="0" indent="0">
              <a:buNone/>
              <a:defRPr/>
            </a:pPr>
            <a:r>
              <a:rPr lang="en-US" altLang="zh-TW" sz="2000" dirty="0"/>
              <a:t>Connection</a:t>
            </a:r>
            <a:r>
              <a:rPr lang="zh-TW" altLang="en-US" sz="2000" dirty="0"/>
              <a:t> </a:t>
            </a:r>
            <a:r>
              <a:rPr lang="en-US" altLang="zh-TW" sz="2000" dirty="0"/>
              <a:t>String of IoT Hub = </a:t>
            </a:r>
            <a:r>
              <a:rPr lang="en-US" altLang="zh-TW" sz="2000" dirty="0" err="1"/>
              <a:t>IoTHubName</a:t>
            </a:r>
            <a:r>
              <a:rPr lang="en-US" altLang="zh-TW" sz="2000" dirty="0"/>
              <a:t> + </a:t>
            </a:r>
            <a:r>
              <a:rPr lang="en-US" altLang="zh-TW" sz="2000" dirty="0" err="1"/>
              <a:t>DeviceId</a:t>
            </a:r>
            <a:r>
              <a:rPr lang="en-US" altLang="zh-TW" sz="2000" dirty="0"/>
              <a:t> + </a:t>
            </a:r>
            <a:r>
              <a:rPr lang="en-US" altLang="zh-TW" sz="2000" dirty="0" err="1"/>
              <a:t>DeviceKey</a:t>
            </a:r>
            <a:endParaRPr lang="en-US" altLang="zh-TW" sz="2000" dirty="0"/>
          </a:p>
          <a:p>
            <a:pPr lvl="0">
              <a:buFont typeface="Wingdings" panose="05000000000000000000" pitchFamily="2" charset="2"/>
              <a:buChar char="l"/>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rPr>
              <a:t>X.509</a:t>
            </a:r>
          </a:p>
          <a:p>
            <a:pPr marL="0" lvl="0" indent="0">
              <a:buNone/>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rPr>
              <a:t>Connection String of IoT Hub = </a:t>
            </a:r>
            <a:r>
              <a:rPr kumimoji="0" lang="en-US" altLang="zh-TW" sz="2000" b="0" i="0" u="none" strike="noStrike" kern="1200" cap="none" spc="0" normalizeH="0" baseline="0" noProof="0" dirty="0" err="1">
                <a:ln>
                  <a:noFill/>
                </a:ln>
                <a:gradFill>
                  <a:gsLst>
                    <a:gs pos="1250">
                      <a:schemeClr val="tx1"/>
                    </a:gs>
                    <a:gs pos="100000">
                      <a:schemeClr val="tx1"/>
                    </a:gs>
                  </a:gsLst>
                  <a:lin ang="5400000" scaled="0"/>
                </a:gradFill>
                <a:effectLst/>
                <a:uLnTx/>
                <a:uFillTx/>
              </a:rPr>
              <a:t>IoTHubName</a:t>
            </a: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rPr>
              <a:t> + </a:t>
            </a:r>
            <a:r>
              <a:rPr kumimoji="0" lang="en-US" altLang="zh-TW" sz="2000" b="0" i="0" u="none" strike="noStrike" kern="1200" cap="none" spc="0" normalizeH="0" baseline="0" noProof="0" dirty="0" err="1">
                <a:ln>
                  <a:noFill/>
                </a:ln>
                <a:gradFill>
                  <a:gsLst>
                    <a:gs pos="1250">
                      <a:schemeClr val="tx1"/>
                    </a:gs>
                    <a:gs pos="100000">
                      <a:schemeClr val="tx1"/>
                    </a:gs>
                  </a:gsLst>
                  <a:lin ang="5400000" scaled="0"/>
                </a:gradFill>
                <a:effectLst/>
                <a:uLnTx/>
                <a:uFillTx/>
              </a:rPr>
              <a:t>DeviceId</a:t>
            </a:r>
            <a:r>
              <a:rPr lang="en-US" altLang="zh-TW" sz="2000" dirty="0"/>
              <a:t> + x509=true</a:t>
            </a:r>
          </a:p>
          <a:p>
            <a:pPr marL="0" lvl="0" indent="0">
              <a:buNone/>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rPr>
              <a:t>And</a:t>
            </a:r>
            <a:r>
              <a:rPr kumimoji="0" lang="en-US" altLang="zh-TW" sz="2000" b="0" i="0" u="none" strike="noStrike" kern="1200" cap="none" spc="0" normalizeH="0" noProof="0" dirty="0">
                <a:ln>
                  <a:noFill/>
                </a:ln>
                <a:gradFill>
                  <a:gsLst>
                    <a:gs pos="1250">
                      <a:schemeClr val="tx1"/>
                    </a:gs>
                    <a:gs pos="100000">
                      <a:schemeClr val="tx1"/>
                    </a:gs>
                  </a:gsLst>
                  <a:lin ang="5400000" scaled="0"/>
                </a:gradFill>
                <a:effectLst/>
                <a:uLnTx/>
                <a:uFillTx/>
              </a:rPr>
              <a:t> </a:t>
            </a:r>
          </a:p>
          <a:p>
            <a:pPr marL="0" lvl="0" indent="0">
              <a:buNone/>
              <a:defRPr/>
            </a:pPr>
            <a:r>
              <a:rPr kumimoji="0" lang="en-US" altLang="zh-TW" sz="2000" b="0" i="0" u="none" strike="noStrike" kern="1200" cap="none" spc="0" normalizeH="0" noProof="0" dirty="0">
                <a:ln>
                  <a:noFill/>
                </a:ln>
                <a:gradFill>
                  <a:gsLst>
                    <a:gs pos="1250">
                      <a:schemeClr val="tx1"/>
                    </a:gs>
                    <a:gs pos="100000">
                      <a:schemeClr val="tx1"/>
                    </a:gs>
                  </a:gsLst>
                  <a:lin ang="5400000" scaled="0"/>
                </a:gradFill>
                <a:effectLst/>
                <a:uLnTx/>
                <a:uFillTx/>
              </a:rPr>
              <a:t>use the x.509 authentication method of Azure IoT Device SDKs to connect the device to IoT Hub</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pic>
        <p:nvPicPr>
          <p:cNvPr id="3" name="Picture 2"/>
          <p:cNvPicPr>
            <a:picLocks noChangeAspect="1"/>
          </p:cNvPicPr>
          <p:nvPr/>
        </p:nvPicPr>
        <p:blipFill>
          <a:blip r:embed="rId3"/>
          <a:stretch>
            <a:fillRect/>
          </a:stretch>
        </p:blipFill>
        <p:spPr>
          <a:xfrm>
            <a:off x="370409" y="1190768"/>
            <a:ext cx="8945529" cy="3235746"/>
          </a:xfrm>
          <a:prstGeom prst="rect">
            <a:avLst/>
          </a:prstGeom>
        </p:spPr>
      </p:pic>
    </p:spTree>
    <p:extLst>
      <p:ext uri="{BB962C8B-B14F-4D97-AF65-F5344CB8AC3E}">
        <p14:creationId xmlns:p14="http://schemas.microsoft.com/office/powerpoint/2010/main" val="13053092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Message Schema</a:t>
            </a:r>
            <a:endParaRPr lang="zh-TW" altLang="en-US" dirty="0"/>
          </a:p>
        </p:txBody>
      </p:sp>
      <p:sp>
        <p:nvSpPr>
          <p:cNvPr id="30" name="Content Placeholder 4"/>
          <p:cNvSpPr txBox="1">
            <a:spLocks/>
          </p:cNvSpPr>
          <p:nvPr/>
        </p:nvSpPr>
        <p:spPr>
          <a:xfrm>
            <a:off x="484553" y="4908062"/>
            <a:ext cx="11261970" cy="1649046"/>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buFont typeface="Wingdings" panose="05000000000000000000" pitchFamily="2" charset="2"/>
              <a:buChar char="l"/>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rPr>
              <a:t>Use</a:t>
            </a:r>
            <a:r>
              <a:rPr kumimoji="0" lang="en-US" altLang="zh-TW" sz="2000" b="0" i="0" u="none" strike="noStrike" kern="1200" cap="none" spc="0" normalizeH="0" noProof="0" dirty="0">
                <a:ln>
                  <a:noFill/>
                </a:ln>
                <a:gradFill>
                  <a:gsLst>
                    <a:gs pos="1250">
                      <a:schemeClr val="tx1"/>
                    </a:gs>
                    <a:gs pos="100000">
                      <a:schemeClr val="tx1"/>
                    </a:gs>
                  </a:gsLst>
                  <a:lin ang="5400000" scaled="0"/>
                </a:gradFill>
                <a:effectLst/>
                <a:uLnTx/>
                <a:uFillTx/>
              </a:rPr>
              <a:t> the list of Message Schema of this device to validate the telemetry messages before the sending</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endParaRPr>
          </a:p>
        </p:txBody>
      </p:sp>
      <p:pic>
        <p:nvPicPr>
          <p:cNvPr id="2" name="Picture 1"/>
          <p:cNvPicPr>
            <a:picLocks noChangeAspect="1"/>
          </p:cNvPicPr>
          <p:nvPr/>
        </p:nvPicPr>
        <p:blipFill>
          <a:blip r:embed="rId3"/>
          <a:stretch>
            <a:fillRect/>
          </a:stretch>
        </p:blipFill>
        <p:spPr>
          <a:xfrm>
            <a:off x="370411" y="1190768"/>
            <a:ext cx="9133098" cy="3484268"/>
          </a:xfrm>
          <a:prstGeom prst="rect">
            <a:avLst/>
          </a:prstGeom>
        </p:spPr>
      </p:pic>
    </p:spTree>
    <p:extLst>
      <p:ext uri="{BB962C8B-B14F-4D97-AF65-F5344CB8AC3E}">
        <p14:creationId xmlns:p14="http://schemas.microsoft.com/office/powerpoint/2010/main" val="25722983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altLang="zh-TW" sz="4705" b="0" i="0" u="none" strike="noStrike" kern="1200" cap="none" spc="-100" normalizeH="0" baseline="0" noProof="0" dirty="0">
                <a:ln w="3175">
                  <a:noFill/>
                </a:ln>
                <a:solidFill>
                  <a:srgbClr val="FFFFFF"/>
                </a:solidFill>
                <a:effectLst/>
                <a:uLnTx/>
                <a:uFillTx/>
                <a:latin typeface="+mj-lt"/>
                <a:ea typeface="+mn-ea"/>
                <a:cs typeface="Segoe UI" pitchFamily="34" charset="0"/>
              </a:rPr>
              <a:t>2. Send</a:t>
            </a:r>
            <a:r>
              <a:rPr kumimoji="0" lang="en-US" altLang="zh-TW" sz="4705" b="0" i="0" u="none" strike="noStrike" kern="1200" cap="none" spc="-100" normalizeH="0" noProof="0" dirty="0">
                <a:ln w="3175">
                  <a:noFill/>
                </a:ln>
                <a:solidFill>
                  <a:srgbClr val="FFFFFF"/>
                </a:solidFill>
                <a:effectLst/>
                <a:uLnTx/>
                <a:uFillTx/>
                <a:latin typeface="+mj-lt"/>
                <a:ea typeface="+mn-ea"/>
                <a:cs typeface="Segoe UI" pitchFamily="34" charset="0"/>
              </a:rPr>
              <a:t> the t</a:t>
            </a: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elemetry</a:t>
            </a:r>
            <a:r>
              <a:rPr kumimoji="0" lang="en-US" sz="4705" b="0" i="0" u="none" strike="noStrike" kern="1200" cap="none" spc="-100" normalizeH="0" noProof="0" dirty="0">
                <a:ln w="3175">
                  <a:noFill/>
                </a:ln>
                <a:solidFill>
                  <a:srgbClr val="FFFFFF"/>
                </a:solidFill>
                <a:effectLst/>
                <a:uLnTx/>
                <a:uFillTx/>
                <a:latin typeface="+mj-lt"/>
                <a:ea typeface="+mn-ea"/>
                <a:cs typeface="Segoe UI" pitchFamily="34" charset="0"/>
              </a:rPr>
              <a:t> messages</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2" name="Rectangle: Rounded Corners 1"/>
          <p:cNvSpPr/>
          <p:nvPr/>
        </p:nvSpPr>
        <p:spPr bwMode="auto">
          <a:xfrm>
            <a:off x="9689374" y="1892403"/>
            <a:ext cx="2438400" cy="4891574"/>
          </a:xfrm>
          <a:prstGeom prst="roundRect">
            <a:avLst/>
          </a:prstGeom>
          <a:solidFill>
            <a:srgbClr val="BAD80A"/>
          </a:solidFill>
          <a:ln>
            <a:solidFill>
              <a:srgbClr val="BAD80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9946324" y="1563545"/>
            <a:ext cx="1097281" cy="336278"/>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Azure</a:t>
            </a:r>
          </a:p>
        </p:txBody>
      </p:sp>
      <p:sp>
        <p:nvSpPr>
          <p:cNvPr id="49" name="Rectangle: Rounded Corners 48"/>
          <p:cNvSpPr/>
          <p:nvPr/>
        </p:nvSpPr>
        <p:spPr bwMode="auto">
          <a:xfrm>
            <a:off x="5733506" y="1899823"/>
            <a:ext cx="3495686" cy="4891574"/>
          </a:xfrm>
          <a:prstGeom prst="round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TextBox 52"/>
          <p:cNvSpPr txBox="1"/>
          <p:nvPr/>
        </p:nvSpPr>
        <p:spPr>
          <a:xfrm>
            <a:off x="6457005" y="1575095"/>
            <a:ext cx="1756621" cy="331899"/>
          </a:xfrm>
          <a:prstGeom prst="rect">
            <a:avLst/>
          </a:prstGeom>
          <a:noFill/>
        </p:spPr>
        <p:txBody>
          <a:bodyPr wrap="square">
            <a:spAutoFit/>
          </a:bodyPr>
          <a:lstStyle/>
          <a:p>
            <a:pPr marL="0" marR="0" lvl="0" indent="0" defTabSz="914367" eaLnBrk="1" fontAlgn="auto" latinLnBrk="0" hangingPunct="1">
              <a:lnSpc>
                <a:spcPct val="100000"/>
              </a:lnSpc>
              <a:spcBef>
                <a:spcPts val="0"/>
              </a:spcBef>
              <a:spcAft>
                <a:spcPts val="2353"/>
              </a:spcAft>
              <a:buClrTx/>
              <a:buSzTx/>
              <a:buFontTx/>
              <a:buNone/>
              <a:tabLst/>
              <a:defRPr/>
            </a:pPr>
            <a:r>
              <a:rPr kumimoji="0" lang="en-US" sz="1568" b="1" i="0" u="none" strike="noStrike" kern="0" cap="none" spc="0" normalizeH="0" baseline="0" noProof="0" dirty="0">
                <a:ln>
                  <a:noFill/>
                </a:ln>
                <a:solidFill>
                  <a:schemeClr val="bg2"/>
                </a:solidFill>
                <a:effectLst/>
                <a:uLnTx/>
                <a:uFillTx/>
                <a:latin typeface="+mj-lt"/>
              </a:rPr>
              <a:t>IoT Device</a:t>
            </a:r>
          </a:p>
        </p:txBody>
      </p:sp>
      <p:sp>
        <p:nvSpPr>
          <p:cNvPr id="29" name="Rectangle: Rounded Corners 28"/>
          <p:cNvSpPr/>
          <p:nvPr/>
        </p:nvSpPr>
        <p:spPr bwMode="auto">
          <a:xfrm>
            <a:off x="9974899" y="2185164"/>
            <a:ext cx="1877473" cy="4300481"/>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lang="en-US" altLang="zh-TW" sz="1372" kern="0" dirty="0">
                <a:solidFill>
                  <a:schemeClr val="bg2"/>
                </a:solidFill>
                <a:ea typeface="Segoe UI" pitchFamily="34" charset="0"/>
                <a:cs typeface="Segoe UI" pitchFamily="34" charset="0"/>
              </a:rPr>
              <a:t>IoT Hub Alias</a:t>
            </a:r>
            <a:endParaRPr kumimoji="0" lang="zh-TW" altLang="en-US" sz="1372" b="0" i="0" u="none" strike="noStrike" kern="0" cap="none" spc="0" normalizeH="0" baseline="0" noProof="0" dirty="0" err="1">
              <a:ln>
                <a:noFill/>
              </a:ln>
              <a:solidFill>
                <a:schemeClr val="bg2"/>
              </a:solidFill>
              <a:effectLst/>
              <a:uLnTx/>
              <a:uFillTx/>
              <a:ea typeface="Segoe UI" pitchFamily="34" charset="0"/>
              <a:cs typeface="Segoe UI" pitchFamily="34" charset="0"/>
            </a:endParaRPr>
          </a:p>
        </p:txBody>
      </p:sp>
      <p:sp>
        <p:nvSpPr>
          <p:cNvPr id="32" name="Rectangle: Rounded Corners 31"/>
          <p:cNvSpPr/>
          <p:nvPr/>
        </p:nvSpPr>
        <p:spPr bwMode="auto">
          <a:xfrm>
            <a:off x="5983829" y="3864797"/>
            <a:ext cx="3017296" cy="2752430"/>
          </a:xfrm>
          <a:prstGeom prst="round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Node.js </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evice SDK</a:t>
            </a: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Rounded Corners 29"/>
          <p:cNvSpPr/>
          <p:nvPr/>
        </p:nvSpPr>
        <p:spPr bwMode="auto">
          <a:xfrm>
            <a:off x="6209599" y="2625946"/>
            <a:ext cx="2528001" cy="750261"/>
          </a:xfrm>
          <a:prstGeom prst="round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lvl="0" algn="ctr" defTabSz="914102" fontAlgn="base">
              <a:lnSpc>
                <a:spcPct val="90000"/>
              </a:lnSpc>
              <a:spcBef>
                <a:spcPct val="0"/>
              </a:spcBef>
              <a:spcAft>
                <a:spcPct val="0"/>
              </a:spcAft>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 Event</a:t>
            </a:r>
          </a:p>
        </p:txBody>
      </p:sp>
      <p:cxnSp>
        <p:nvCxnSpPr>
          <p:cNvPr id="37" name="Straight Arrow Connector 36"/>
          <p:cNvCxnSpPr/>
          <p:nvPr/>
        </p:nvCxnSpPr>
        <p:spPr>
          <a:xfrm flipV="1">
            <a:off x="6657325" y="3376209"/>
            <a:ext cx="0" cy="859417"/>
          </a:xfrm>
          <a:prstGeom prst="straightConnector1">
            <a:avLst/>
          </a:prstGeom>
          <a:ln w="38100"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Arrow Connector 66"/>
          <p:cNvCxnSpPr>
            <a:endCxn id="29" idx="1"/>
          </p:cNvCxnSpPr>
          <p:nvPr/>
        </p:nvCxnSpPr>
        <p:spPr>
          <a:xfrm flipV="1">
            <a:off x="8539434" y="4335405"/>
            <a:ext cx="1435465" cy="1177190"/>
          </a:xfrm>
          <a:prstGeom prst="straightConnector1">
            <a:avLst/>
          </a:prstGeom>
          <a:ln w="38100" cap="flat" cmpd="sng" algn="ctr">
            <a:solidFill>
              <a:schemeClr val="bg2">
                <a:lumMod val="75000"/>
                <a:lumOff val="2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0" name="TextBox 79"/>
          <p:cNvSpPr txBox="1"/>
          <p:nvPr/>
        </p:nvSpPr>
        <p:spPr>
          <a:xfrm>
            <a:off x="285151" y="1906994"/>
            <a:ext cx="5464266" cy="1015663"/>
          </a:xfrm>
          <a:prstGeom prst="rect">
            <a:avLst/>
          </a:prstGeom>
          <a:noFill/>
        </p:spPr>
        <p:txBody>
          <a:bodyPr wrap="square">
            <a:spAutoFit/>
          </a:bodyPr>
          <a:lstStyle/>
          <a:p>
            <a:pPr marL="342900" indent="-342900" defTabSz="914367">
              <a:buFont typeface="+mj-lt"/>
              <a:buAutoNum type="arabicPeriod"/>
              <a:defRPr/>
            </a:pPr>
            <a:r>
              <a:rPr lang="en-US" sz="2000" kern="0" dirty="0" err="1">
                <a:solidFill>
                  <a:srgbClr val="969696"/>
                </a:solidFill>
              </a:rPr>
              <a:t>SendEventAsyncWithRetry</a:t>
            </a:r>
            <a:r>
              <a:rPr lang="en-US" sz="2000" kern="0" dirty="0">
                <a:solidFill>
                  <a:srgbClr val="969696"/>
                </a:solidFill>
              </a:rPr>
              <a:t> method</a:t>
            </a:r>
          </a:p>
          <a:p>
            <a:pPr marL="800100" lvl="1" indent="-342900" defTabSz="914367">
              <a:buFont typeface="Arial" panose="020B0604020202020204" pitchFamily="34" charset="0"/>
              <a:buChar char="•"/>
              <a:defRPr/>
            </a:pPr>
            <a:r>
              <a:rPr kumimoji="0" lang="en-US" sz="2000" b="0" i="0" u="none" strike="noStrike" kern="0" cap="none" spc="0" normalizeH="0" baseline="0" noProof="0" dirty="0">
                <a:ln>
                  <a:noFill/>
                </a:ln>
                <a:solidFill>
                  <a:srgbClr val="969696"/>
                </a:solidFill>
                <a:effectLst/>
                <a:uLnTx/>
                <a:uFillTx/>
              </a:rPr>
              <a:t>Message Catalog ID</a:t>
            </a:r>
          </a:p>
          <a:p>
            <a:pPr marL="800100" lvl="1" indent="-342900" defTabSz="914367">
              <a:buFont typeface="Arial" panose="020B0604020202020204" pitchFamily="34" charset="0"/>
              <a:buChar char="•"/>
              <a:defRPr/>
            </a:pPr>
            <a:r>
              <a:rPr lang="en-US" sz="2000" kern="0" dirty="0">
                <a:solidFill>
                  <a:srgbClr val="969696"/>
                </a:solidFill>
              </a:rPr>
              <a:t>Payload</a:t>
            </a:r>
            <a:endParaRPr kumimoji="0" lang="en-US" sz="2000" b="0" i="0" u="none" strike="noStrike" kern="0" cap="none" spc="0" normalizeH="0" baseline="0" noProof="0" dirty="0">
              <a:ln>
                <a:noFill/>
              </a:ln>
              <a:solidFill>
                <a:srgbClr val="969696"/>
              </a:solidFill>
              <a:effectLst/>
              <a:uLnTx/>
              <a:uFillTx/>
            </a:endParaRPr>
          </a:p>
        </p:txBody>
      </p:sp>
      <p:sp>
        <p:nvSpPr>
          <p:cNvPr id="83" name="TextBox 82"/>
          <p:cNvSpPr txBox="1"/>
          <p:nvPr/>
        </p:nvSpPr>
        <p:spPr>
          <a:xfrm>
            <a:off x="261235" y="3072934"/>
            <a:ext cx="5447191" cy="1631216"/>
          </a:xfrm>
          <a:prstGeom prst="rect">
            <a:avLst/>
          </a:prstGeom>
          <a:noFill/>
        </p:spPr>
        <p:txBody>
          <a:bodyPr wrap="square">
            <a:spAutoFit/>
          </a:bodyPr>
          <a:lstStyle/>
          <a:p>
            <a:pPr marL="342900" indent="-342900" defTabSz="914367">
              <a:buFont typeface="+mj-lt"/>
              <a:buAutoNum type="arabicPeriod" startAt="2"/>
              <a:defRPr/>
            </a:pPr>
            <a:r>
              <a:rPr kumimoji="0" lang="en-US" sz="2000" b="0" i="0" u="none" strike="noStrike" kern="0" cap="none" spc="0" normalizeH="0" baseline="0" noProof="0" dirty="0">
                <a:ln>
                  <a:noFill/>
                </a:ln>
                <a:solidFill>
                  <a:srgbClr val="969696"/>
                </a:solidFill>
                <a:effectLst/>
                <a:uLnTx/>
                <a:uFillTx/>
              </a:rPr>
              <a:t>Message Validation</a:t>
            </a:r>
            <a:endParaRPr kumimoji="0" lang="en-US" sz="2000" b="0" i="0" u="none" strike="noStrike" kern="0" cap="none" spc="0" normalizeH="0" noProof="0" dirty="0">
              <a:ln>
                <a:noFill/>
              </a:ln>
              <a:solidFill>
                <a:srgbClr val="969696"/>
              </a:solidFill>
              <a:effectLst/>
              <a:uLnTx/>
              <a:uFillTx/>
            </a:endParaRPr>
          </a:p>
          <a:p>
            <a:pPr marL="800100" lvl="1" indent="-342900" defTabSz="914367">
              <a:buFont typeface="Arial" panose="020B0604020202020204" pitchFamily="34" charset="0"/>
              <a:buChar char="•"/>
              <a:defRPr/>
            </a:pPr>
            <a:r>
              <a:rPr lang="en-US" sz="2000" kern="0" baseline="0" dirty="0">
                <a:solidFill>
                  <a:srgbClr val="969696"/>
                </a:solidFill>
              </a:rPr>
              <a:t>Drop the single element if</a:t>
            </a:r>
            <a:r>
              <a:rPr lang="en-US" sz="2000" kern="0" dirty="0">
                <a:solidFill>
                  <a:srgbClr val="969696"/>
                </a:solidFill>
              </a:rPr>
              <a:t> it doesn’t exist in the schema list.</a:t>
            </a:r>
          </a:p>
          <a:p>
            <a:pPr marL="800100" lvl="1" indent="-342900" defTabSz="914367">
              <a:buFont typeface="Arial" panose="020B0604020202020204" pitchFamily="34" charset="0"/>
              <a:buChar char="•"/>
              <a:defRPr/>
            </a:pPr>
            <a:r>
              <a:rPr kumimoji="0" lang="en-US" sz="2000" b="0" i="0" u="none" strike="noStrike" kern="0" cap="none" spc="0" normalizeH="0" baseline="0" noProof="0" dirty="0">
                <a:ln>
                  <a:noFill/>
                </a:ln>
                <a:solidFill>
                  <a:srgbClr val="969696"/>
                </a:solidFill>
                <a:effectLst/>
                <a:uLnTx/>
                <a:uFillTx/>
              </a:rPr>
              <a:t>Re-pack the telemetry</a:t>
            </a:r>
            <a:r>
              <a:rPr kumimoji="0" lang="en-US" sz="2000" b="0" i="0" u="none" strike="noStrike" kern="0" cap="none" spc="0" normalizeH="0" noProof="0" dirty="0">
                <a:ln>
                  <a:noFill/>
                </a:ln>
                <a:solidFill>
                  <a:srgbClr val="969696"/>
                </a:solidFill>
                <a:effectLst/>
                <a:uLnTx/>
                <a:uFillTx/>
              </a:rPr>
              <a:t> with message </a:t>
            </a:r>
            <a:r>
              <a:rPr lang="en-US" sz="2000" kern="0" dirty="0">
                <a:solidFill>
                  <a:srgbClr val="969696"/>
                </a:solidFill>
              </a:rPr>
              <a:t>property (Message Catalog ID)</a:t>
            </a:r>
            <a:endParaRPr kumimoji="0" lang="en-US" sz="2000" b="0" i="0" u="none" strike="noStrike" kern="0" cap="none" spc="0" normalizeH="0" baseline="0" noProof="0" dirty="0">
              <a:ln>
                <a:noFill/>
              </a:ln>
              <a:solidFill>
                <a:srgbClr val="969696"/>
              </a:solidFill>
              <a:effectLst/>
              <a:uLnTx/>
              <a:uFillTx/>
            </a:endParaRPr>
          </a:p>
        </p:txBody>
      </p:sp>
      <p:sp>
        <p:nvSpPr>
          <p:cNvPr id="34" name="Rectangle: Rounded Corners 33"/>
          <p:cNvSpPr/>
          <p:nvPr/>
        </p:nvSpPr>
        <p:spPr bwMode="auto">
          <a:xfrm>
            <a:off x="10246136" y="3126756"/>
            <a:ext cx="1434264"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gradFill>
                  <a:gsLst>
                    <a:gs pos="0">
                      <a:srgbClr val="FFFFFF"/>
                    </a:gs>
                    <a:gs pos="100000">
                      <a:srgbClr val="FFFFFF"/>
                    </a:gs>
                  </a:gsLst>
                  <a:lin ang="5400000" scaled="0"/>
                </a:gradFill>
                <a:ea typeface="Segoe UI" pitchFamily="34" charset="0"/>
                <a:cs typeface="Segoe UI" pitchFamily="34" charset="0"/>
              </a:rPr>
              <a:t>IoT Hub (Primary)</a:t>
            </a:r>
            <a:endParaRPr lang="zh-TW" altLang="en-US" sz="137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Rounded Corners 34"/>
          <p:cNvSpPr/>
          <p:nvPr/>
        </p:nvSpPr>
        <p:spPr bwMode="auto">
          <a:xfrm>
            <a:off x="10246136" y="4862998"/>
            <a:ext cx="1434265" cy="89641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zh-TW" sz="1372" kern="0" dirty="0">
                <a:gradFill>
                  <a:gsLst>
                    <a:gs pos="0">
                      <a:srgbClr val="FFFFFF"/>
                    </a:gs>
                    <a:gs pos="100000">
                      <a:srgbClr val="FFFFFF"/>
                    </a:gs>
                  </a:gsLst>
                  <a:lin ang="5400000" scaled="0"/>
                </a:gradFill>
                <a:ea typeface="Segoe UI" pitchFamily="34" charset="0"/>
                <a:cs typeface="Segoe UI" pitchFamily="34" charset="0"/>
              </a:rPr>
              <a:t>IoT Hub (Secondary)</a:t>
            </a:r>
            <a:endParaRPr lang="zh-TW" altLang="en-US" sz="137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Rounded Corners 37"/>
          <p:cNvSpPr/>
          <p:nvPr/>
        </p:nvSpPr>
        <p:spPr bwMode="auto">
          <a:xfrm>
            <a:off x="6458026" y="4235626"/>
            <a:ext cx="2074765" cy="540792"/>
          </a:xfrm>
          <a:prstGeom prst="round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ssage Validation</a:t>
            </a:r>
          </a:p>
        </p:txBody>
      </p:sp>
      <p:sp>
        <p:nvSpPr>
          <p:cNvPr id="40" name="TextBox 39"/>
          <p:cNvSpPr txBox="1"/>
          <p:nvPr/>
        </p:nvSpPr>
        <p:spPr>
          <a:xfrm>
            <a:off x="6674298" y="3459834"/>
            <a:ext cx="2992229" cy="333617"/>
          </a:xfrm>
          <a:prstGeom prst="rect">
            <a:avLst/>
          </a:prstGeom>
          <a:noFill/>
        </p:spPr>
        <p:txBody>
          <a:bodyPr wrap="square">
            <a:spAutoFit/>
          </a:bodyPr>
          <a:lstStyle/>
          <a:p>
            <a:pPr lvl="0" defTabSz="914367">
              <a:spcAft>
                <a:spcPts val="2353"/>
              </a:spcAft>
              <a:defRPr/>
            </a:pPr>
            <a:r>
              <a:rPr lang="en-US" sz="1568" b="1" kern="0" dirty="0" err="1">
                <a:latin typeface="+mj-lt"/>
              </a:rPr>
              <a:t>SendEventAsyncWithRetry</a:t>
            </a:r>
            <a:r>
              <a:rPr lang="en-US" sz="1568" b="1" kern="0" dirty="0">
                <a:latin typeface="+mj-lt"/>
              </a:rPr>
              <a:t>()</a:t>
            </a:r>
          </a:p>
        </p:txBody>
      </p:sp>
      <p:sp>
        <p:nvSpPr>
          <p:cNvPr id="45" name="Rectangle: Rounded Corners 44"/>
          <p:cNvSpPr/>
          <p:nvPr/>
        </p:nvSpPr>
        <p:spPr bwMode="auto">
          <a:xfrm>
            <a:off x="6464669" y="5271509"/>
            <a:ext cx="2074765" cy="563254"/>
          </a:xfrm>
          <a:prstGeom prst="round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 To IoT Hub</a:t>
            </a:r>
          </a:p>
        </p:txBody>
      </p:sp>
      <p:sp>
        <p:nvSpPr>
          <p:cNvPr id="47" name="TextBox 46"/>
          <p:cNvSpPr txBox="1"/>
          <p:nvPr/>
        </p:nvSpPr>
        <p:spPr>
          <a:xfrm>
            <a:off x="271504" y="4854428"/>
            <a:ext cx="5462002" cy="1631216"/>
          </a:xfrm>
          <a:prstGeom prst="rect">
            <a:avLst/>
          </a:prstGeom>
          <a:noFill/>
        </p:spPr>
        <p:txBody>
          <a:bodyPr wrap="square">
            <a:spAutoFit/>
          </a:bodyPr>
          <a:lstStyle/>
          <a:p>
            <a:pPr marL="457200" indent="-457200" defTabSz="914367">
              <a:buFont typeface="+mj-lt"/>
              <a:buAutoNum type="arabicPeriod" startAt="3"/>
              <a:defRPr/>
            </a:pPr>
            <a:r>
              <a:rPr kumimoji="0" lang="en-US" sz="2000" b="0" i="0" u="none" strike="noStrike" kern="0" cap="none" spc="0" normalizeH="0" baseline="0" noProof="0" dirty="0">
                <a:ln>
                  <a:noFill/>
                </a:ln>
                <a:solidFill>
                  <a:srgbClr val="969696"/>
                </a:solidFill>
                <a:effectLst/>
                <a:uLnTx/>
                <a:uFillTx/>
              </a:rPr>
              <a:t>Send to IoT Hub</a:t>
            </a:r>
            <a:endParaRPr kumimoji="0" lang="en-US" sz="2000" b="0" i="0" u="none" strike="noStrike" kern="0" cap="none" spc="0" normalizeH="0" noProof="0" dirty="0">
              <a:ln>
                <a:noFill/>
              </a:ln>
              <a:solidFill>
                <a:srgbClr val="969696"/>
              </a:solidFill>
              <a:effectLst/>
              <a:uLnTx/>
              <a:uFillTx/>
            </a:endParaRPr>
          </a:p>
          <a:p>
            <a:pPr marL="800100" lvl="1" indent="-342900" defTabSz="914367">
              <a:buFont typeface="Arial" panose="020B0604020202020204" pitchFamily="34" charset="0"/>
              <a:buChar char="•"/>
              <a:defRPr/>
            </a:pPr>
            <a:r>
              <a:rPr lang="en-US" sz="2000" kern="0" dirty="0">
                <a:solidFill>
                  <a:srgbClr val="969696"/>
                </a:solidFill>
              </a:rPr>
              <a:t>Use </a:t>
            </a:r>
            <a:r>
              <a:rPr lang="en-US" sz="2000" kern="0" dirty="0" err="1">
                <a:solidFill>
                  <a:srgbClr val="969696"/>
                </a:solidFill>
              </a:rPr>
              <a:t>SendEventAsync</a:t>
            </a:r>
            <a:r>
              <a:rPr lang="en-US" sz="2000" kern="0" dirty="0">
                <a:solidFill>
                  <a:srgbClr val="969696"/>
                </a:solidFill>
              </a:rPr>
              <a:t> method of Azure IoT Device SDK </a:t>
            </a:r>
          </a:p>
          <a:p>
            <a:pPr marL="800100" lvl="1" indent="-342900" defTabSz="914367">
              <a:buFont typeface="Arial" panose="020B0604020202020204" pitchFamily="34" charset="0"/>
              <a:buChar char="•"/>
              <a:defRPr/>
            </a:pPr>
            <a:r>
              <a:rPr lang="en-US" sz="2000" kern="0" dirty="0">
                <a:solidFill>
                  <a:srgbClr val="969696"/>
                </a:solidFill>
              </a:rPr>
              <a:t>Failover with the working IoT Hub</a:t>
            </a:r>
          </a:p>
          <a:p>
            <a:pPr marL="800100" lvl="1" indent="-342900" defTabSz="914367">
              <a:buFont typeface="Arial" panose="020B0604020202020204" pitchFamily="34" charset="0"/>
              <a:buChar char="•"/>
              <a:defRPr/>
            </a:pPr>
            <a:r>
              <a:rPr lang="en-US" sz="2000" kern="0" dirty="0">
                <a:solidFill>
                  <a:srgbClr val="969696"/>
                </a:solidFill>
              </a:rPr>
              <a:t>Retry count with exponential back-off</a:t>
            </a:r>
          </a:p>
        </p:txBody>
      </p:sp>
      <p:cxnSp>
        <p:nvCxnSpPr>
          <p:cNvPr id="48" name="Straight Arrow Connector 47"/>
          <p:cNvCxnSpPr/>
          <p:nvPr/>
        </p:nvCxnSpPr>
        <p:spPr>
          <a:xfrm flipV="1">
            <a:off x="6650681" y="4762560"/>
            <a:ext cx="0" cy="478452"/>
          </a:xfrm>
          <a:prstGeom prst="straightConnector1">
            <a:avLst/>
          </a:prstGeom>
          <a:ln w="38100" cap="flat" cmpd="sng" algn="ctr">
            <a:solidFill>
              <a:schemeClr val="tx1"/>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Arrow Connector 54"/>
          <p:cNvCxnSpPr>
            <a:stCxn id="35" idx="0"/>
            <a:endCxn id="34" idx="2"/>
          </p:cNvCxnSpPr>
          <p:nvPr/>
        </p:nvCxnSpPr>
        <p:spPr>
          <a:xfrm flipH="1" flipV="1">
            <a:off x="10963268" y="4023171"/>
            <a:ext cx="1" cy="839827"/>
          </a:xfrm>
          <a:prstGeom prst="straightConnector1">
            <a:avLst/>
          </a:prstGeom>
          <a:ln w="38100" cap="flat" cmpd="sng" algn="ctr">
            <a:solidFill>
              <a:schemeClr val="tx1"/>
            </a:solidFill>
            <a:prstDash val="sys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6152468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80" grpId="0"/>
      <p:bldP spid="83" grpId="0"/>
      <p:bldP spid="38" grpId="0" animBg="1"/>
      <p:bldP spid="40" grpId="0"/>
      <p:bldP spid="45" grpId="0" animBg="1"/>
      <p:bldP spid="4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Failover on IoT Hub</a:t>
            </a:r>
            <a:endParaRPr lang="zh-TW" altLang="en-US" dirty="0"/>
          </a:p>
        </p:txBody>
      </p:sp>
      <p:sp>
        <p:nvSpPr>
          <p:cNvPr id="30" name="Content Placeholder 4"/>
          <p:cNvSpPr txBox="1">
            <a:spLocks/>
          </p:cNvSpPr>
          <p:nvPr/>
        </p:nvSpPr>
        <p:spPr>
          <a:xfrm>
            <a:off x="8314288" y="1542793"/>
            <a:ext cx="3877712" cy="1069811"/>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367" rtl="0" eaLnBrk="1" fontAlgn="auto" latinLnBrk="0" hangingPunct="1">
              <a:lnSpc>
                <a:spcPct val="90000"/>
              </a:lnSpc>
              <a:spcBef>
                <a:spcPct val="20000"/>
              </a:spcBef>
              <a:spcAft>
                <a:spcPts val="0"/>
              </a:spcAft>
              <a:buClrTx/>
              <a:buSzPct val="90000"/>
              <a:tabLst/>
              <a:defRPr/>
            </a:pPr>
            <a:r>
              <a:rPr lang="en-US" altLang="zh-TW" sz="2000" dirty="0"/>
              <a:t>Get the working IoT Hub again via the re-initial process</a:t>
            </a:r>
          </a:p>
          <a:p>
            <a:pPr marR="0" lvl="0" algn="l" defTabSz="914367" rtl="0" eaLnBrk="1" fontAlgn="auto" latinLnBrk="0" hangingPunct="1">
              <a:lnSpc>
                <a:spcPct val="90000"/>
              </a:lnSpc>
              <a:spcBef>
                <a:spcPct val="20000"/>
              </a:spcBef>
              <a:spcAft>
                <a:spcPts val="0"/>
              </a:spcAft>
              <a:buClrTx/>
              <a:buSzPct val="90000"/>
              <a:tabLst/>
              <a:defRPr/>
            </a:pPr>
            <a:r>
              <a:rPr lang="en-US" altLang="zh-TW" sz="2000" dirty="0"/>
              <a:t>Exponential back-off </a:t>
            </a:r>
          </a:p>
          <a:p>
            <a:pPr marR="0" lvl="0" algn="l" defTabSz="914367" rtl="0" eaLnBrk="1" fontAlgn="auto" latinLnBrk="0" hangingPunct="1">
              <a:lnSpc>
                <a:spcPct val="90000"/>
              </a:lnSpc>
              <a:spcBef>
                <a:spcPct val="20000"/>
              </a:spcBef>
              <a:spcAft>
                <a:spcPts val="0"/>
              </a:spcAft>
              <a:buClrTx/>
              <a:buSzPct val="90000"/>
              <a:tabLst/>
              <a:defRPr/>
            </a:pP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3" name="Rectangle: Rounded Corners 2"/>
          <p:cNvSpPr/>
          <p:nvPr/>
        </p:nvSpPr>
        <p:spPr bwMode="auto">
          <a:xfrm>
            <a:off x="1235960" y="2720441"/>
            <a:ext cx="1836612"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Initial</a:t>
            </a: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Rounded Corners 5"/>
          <p:cNvSpPr/>
          <p:nvPr/>
        </p:nvSpPr>
        <p:spPr bwMode="auto">
          <a:xfrm>
            <a:off x="4278723" y="2720441"/>
            <a:ext cx="1836612"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Send Event</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4873723" y="4148786"/>
            <a:ext cx="2208241"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err="1">
                <a:gradFill>
                  <a:gsLst>
                    <a:gs pos="0">
                      <a:srgbClr val="FFFFFF"/>
                    </a:gs>
                    <a:gs pos="100000">
                      <a:srgbClr val="FFFFFF"/>
                    </a:gs>
                  </a:gsLst>
                  <a:lin ang="5400000" scaled="0"/>
                </a:gradFill>
                <a:ea typeface="Segoe UI" pitchFamily="34" charset="0"/>
                <a:cs typeface="Segoe UI" pitchFamily="34" charset="0"/>
              </a:rPr>
              <a:t>IoTHubException</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Rounded Corners 7"/>
          <p:cNvSpPr/>
          <p:nvPr/>
        </p:nvSpPr>
        <p:spPr bwMode="auto">
          <a:xfrm>
            <a:off x="2577958" y="5577131"/>
            <a:ext cx="1848136"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Done</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4" name="Flowchart: Decision 3"/>
          <p:cNvSpPr/>
          <p:nvPr/>
        </p:nvSpPr>
        <p:spPr bwMode="auto">
          <a:xfrm>
            <a:off x="8188367" y="3932118"/>
            <a:ext cx="2797906" cy="1207831"/>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Reach Maximum Retry Count?</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p:cNvSpPr/>
          <p:nvPr/>
        </p:nvSpPr>
        <p:spPr bwMode="auto">
          <a:xfrm>
            <a:off x="8545821" y="5577130"/>
            <a:ext cx="2082998" cy="7964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Exception with maximum retry</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1497774" y="1405689"/>
            <a:ext cx="1312984" cy="7964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Start</a:t>
            </a: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Rounded Corners 12"/>
          <p:cNvSpPr/>
          <p:nvPr/>
        </p:nvSpPr>
        <p:spPr bwMode="auto">
          <a:xfrm>
            <a:off x="8545821" y="2674236"/>
            <a:ext cx="2082998"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Re-initial</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p:cNvSpPr/>
          <p:nvPr/>
        </p:nvSpPr>
        <p:spPr bwMode="auto">
          <a:xfrm>
            <a:off x="2577958" y="4148786"/>
            <a:ext cx="1836612" cy="79646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dirty="0">
                <a:gradFill>
                  <a:gsLst>
                    <a:gs pos="0">
                      <a:srgbClr val="FFFFFF"/>
                    </a:gs>
                    <a:gs pos="100000">
                      <a:srgbClr val="FFFFFF"/>
                    </a:gs>
                  </a:gsLst>
                  <a:lin ang="5400000" scaled="0"/>
                </a:gradFill>
                <a:ea typeface="Segoe UI" pitchFamily="34" charset="0"/>
                <a:cs typeface="Segoe UI" pitchFamily="34" charset="0"/>
              </a:rPr>
              <a:t>Success</a:t>
            </a:r>
            <a:endParaRPr lang="zh-TW" altLang="en-US"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a:stCxn id="5" idx="4"/>
            <a:endCxn id="3" idx="0"/>
          </p:cNvCxnSpPr>
          <p:nvPr/>
        </p:nvCxnSpPr>
        <p:spPr>
          <a:xfrm>
            <a:off x="2154266" y="2202151"/>
            <a:ext cx="0" cy="518290"/>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3" idx="3"/>
            <a:endCxn id="6" idx="1"/>
          </p:cNvCxnSpPr>
          <p:nvPr/>
        </p:nvCxnSpPr>
        <p:spPr>
          <a:xfrm>
            <a:off x="3072572" y="3118672"/>
            <a:ext cx="1206151" cy="0"/>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6" idx="2"/>
            <a:endCxn id="14" idx="0"/>
          </p:cNvCxnSpPr>
          <p:nvPr/>
        </p:nvCxnSpPr>
        <p:spPr>
          <a:xfrm flipH="1">
            <a:off x="3496264" y="3516903"/>
            <a:ext cx="1700765" cy="631883"/>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6" idx="2"/>
            <a:endCxn id="7" idx="0"/>
          </p:cNvCxnSpPr>
          <p:nvPr/>
        </p:nvCxnSpPr>
        <p:spPr>
          <a:xfrm>
            <a:off x="5197029" y="3516903"/>
            <a:ext cx="780815" cy="631883"/>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4" idx="2"/>
            <a:endCxn id="8" idx="0"/>
          </p:cNvCxnSpPr>
          <p:nvPr/>
        </p:nvCxnSpPr>
        <p:spPr>
          <a:xfrm>
            <a:off x="3496264" y="4945248"/>
            <a:ext cx="5762" cy="631883"/>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7" idx="3"/>
            <a:endCxn id="4" idx="1"/>
          </p:cNvCxnSpPr>
          <p:nvPr/>
        </p:nvCxnSpPr>
        <p:spPr>
          <a:xfrm flipV="1">
            <a:off x="7081964" y="4536034"/>
            <a:ext cx="1106403" cy="10983"/>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4" idx="2"/>
            <a:endCxn id="11" idx="0"/>
          </p:cNvCxnSpPr>
          <p:nvPr/>
        </p:nvCxnSpPr>
        <p:spPr>
          <a:xfrm>
            <a:off x="9587320" y="5139949"/>
            <a:ext cx="0" cy="437181"/>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1" idx="1"/>
            <a:endCxn id="8" idx="3"/>
          </p:cNvCxnSpPr>
          <p:nvPr/>
        </p:nvCxnSpPr>
        <p:spPr>
          <a:xfrm flipH="1">
            <a:off x="4426094" y="5975362"/>
            <a:ext cx="4119727"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4" idx="0"/>
            <a:endCxn id="13" idx="2"/>
          </p:cNvCxnSpPr>
          <p:nvPr/>
        </p:nvCxnSpPr>
        <p:spPr>
          <a:xfrm flipV="1">
            <a:off x="9587320" y="3470698"/>
            <a:ext cx="0" cy="46142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3" idx="1"/>
            <a:endCxn id="6" idx="3"/>
          </p:cNvCxnSpPr>
          <p:nvPr/>
        </p:nvCxnSpPr>
        <p:spPr>
          <a:xfrm flipH="1">
            <a:off x="6115335" y="3072467"/>
            <a:ext cx="2430486" cy="46205"/>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Content Placeholder 4"/>
          <p:cNvSpPr txBox="1">
            <a:spLocks/>
          </p:cNvSpPr>
          <p:nvPr/>
        </p:nvSpPr>
        <p:spPr>
          <a:xfrm>
            <a:off x="9604079" y="3532330"/>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No</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
        <p:nvSpPr>
          <p:cNvPr id="48" name="Content Placeholder 4"/>
          <p:cNvSpPr txBox="1">
            <a:spLocks/>
          </p:cNvSpPr>
          <p:nvPr/>
        </p:nvSpPr>
        <p:spPr>
          <a:xfrm>
            <a:off x="9604079" y="5139949"/>
            <a:ext cx="711707" cy="39978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kumimoji="0" lang="en-US" altLang="zh-TW"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Yes</a:t>
            </a:r>
            <a:endParaRPr kumimoji="0" lang="zh-TW" alt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Tree>
    <p:extLst>
      <p:ext uri="{BB962C8B-B14F-4D97-AF65-F5344CB8AC3E}">
        <p14:creationId xmlns:p14="http://schemas.microsoft.com/office/powerpoint/2010/main" val="1189526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 grpId="0" animBg="1"/>
      <p:bldP spid="6" grpId="0" animBg="1"/>
      <p:bldP spid="7" grpId="0" animBg="1"/>
      <p:bldP spid="8" grpId="0" animBg="1"/>
      <p:bldP spid="4" grpId="0" animBg="1"/>
      <p:bldP spid="11" grpId="0" animBg="1"/>
      <p:bldP spid="5" grpId="0" animBg="1"/>
      <p:bldP spid="13" grpId="0" animBg="1"/>
      <p:bldP spid="14" grpId="0" animBg="1"/>
      <p:bldP spid="47" grpId="0"/>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COLOR TEMPLATE">
  <a:themeElements>
    <a:clrScheme name="Custom 3">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277DFF"/>
      </a:hlink>
      <a:folHlink>
        <a:srgbClr val="00317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4.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BEFAAC1-B3B8-4E19-89E9-7E6D7A1FDD92}"/>
</file>

<file path=customXml/itemProps2.xml><?xml version="1.0" encoding="utf-8"?>
<ds:datastoreItem xmlns:ds="http://schemas.openxmlformats.org/officeDocument/2006/customXml" ds:itemID="{F6E8447B-1794-43EF-8F97-42CB69CCE3F2}">
  <ds:schemaRefs>
    <ds:schemaRef ds:uri="http://schemas.microsoft.com/sharepoint/v3/contenttype/forms"/>
  </ds:schemaRefs>
</ds:datastoreItem>
</file>

<file path=customXml/itemProps3.xml><?xml version="1.0" encoding="utf-8"?>
<ds:datastoreItem xmlns:ds="http://schemas.openxmlformats.org/officeDocument/2006/customXml" ds:itemID="{A7AD13A5-7164-4636-869F-ABAA0D6EE06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d43041c-b26d-434e-9e55-1cfb9192bf3d"/>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1550</TotalTime>
  <Words>1215</Words>
  <Application>Microsoft Office PowerPoint</Application>
  <PresentationFormat>Widescreen</PresentationFormat>
  <Paragraphs>234</Paragraphs>
  <Slides>15</Slides>
  <Notes>15</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15</vt:i4>
      </vt:variant>
    </vt:vector>
  </HeadingPairs>
  <TitlesOfParts>
    <vt:vector size="45" baseType="lpstr">
      <vt:lpstr>Avenir LT Pro 45 Book</vt:lpstr>
      <vt:lpstr>ＭＳ Ｐゴシック</vt:lpstr>
      <vt:lpstr>ＭＳ Ｐゴシック</vt:lpstr>
      <vt:lpstr>Segoe Pro</vt:lpstr>
      <vt:lpstr>Segoe Pro Light</vt:lpstr>
      <vt:lpstr>新細明體</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COLOR TEMPLATE</vt:lpstr>
      <vt:lpstr>WHITE TEMPLATE</vt:lpstr>
      <vt:lpstr>think-cell Slide</vt:lpstr>
      <vt:lpstr>Connected Device Studio Device SDK</vt:lpstr>
      <vt:lpstr>Architecture</vt:lpstr>
      <vt:lpstr>Device SDK</vt:lpstr>
      <vt:lpstr>PowerPoint Presentation</vt:lpstr>
      <vt:lpstr>PowerPoint Presentation</vt:lpstr>
      <vt:lpstr>Device Model</vt:lpstr>
      <vt:lpstr>Message Schema</vt:lpstr>
      <vt:lpstr>PowerPoint Presentation</vt:lpstr>
      <vt:lpstr>Failover on IoT Hub</vt:lpstr>
      <vt:lpstr>PowerPoint Presentation</vt:lpstr>
      <vt:lpstr>PowerPoint Presentation</vt:lpstr>
      <vt:lpstr>File Structure</vt:lpstr>
      <vt:lpstr>PowerPoint Presentation</vt:lpstr>
      <vt:lpstr>What the next will be don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Walker Lin (ManpowerGroup Taiwan)</cp:lastModifiedBy>
  <cp:revision>586</cp:revision>
  <dcterms:created xsi:type="dcterms:W3CDTF">2016-10-18T07:42:08Z</dcterms:created>
  <dcterms:modified xsi:type="dcterms:W3CDTF">2017-06-13T08: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